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17"/>
  </p:notesMasterIdLst>
  <p:sldIdLst>
    <p:sldId id="474" r:id="rId5"/>
    <p:sldId id="511" r:id="rId6"/>
    <p:sldId id="512" r:id="rId7"/>
    <p:sldId id="514" r:id="rId8"/>
    <p:sldId id="517" r:id="rId9"/>
    <p:sldId id="518" r:id="rId10"/>
    <p:sldId id="519" r:id="rId11"/>
    <p:sldId id="515" r:id="rId12"/>
    <p:sldId id="521" r:id="rId13"/>
    <p:sldId id="522" r:id="rId14"/>
    <p:sldId id="523" r:id="rId15"/>
    <p:sldId id="363" r:id="rId16"/>
  </p:sldIdLst>
  <p:sldSz cx="9144000" cy="5143500" type="screen16x9"/>
  <p:notesSz cx="6797675" cy="9926638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560">
          <p15:clr>
            <a:srgbClr val="A4A3A4"/>
          </p15:clr>
        </p15:guide>
        <p15:guide id="14" pos="2018">
          <p15:clr>
            <a:srgbClr val="A4A3A4"/>
          </p15:clr>
        </p15:guide>
        <p15:guide id="15" pos="1247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ECF7C0-3571-42B3-AEF5-94324BE9F028}" v="31" dt="2023-12-27T11:39:09.1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01" autoAdjust="0"/>
    <p:restoredTop sz="88875" autoAdjust="0"/>
  </p:normalViewPr>
  <p:slideViewPr>
    <p:cSldViewPr snapToObjects="1" showGuides="1">
      <p:cViewPr varScale="1">
        <p:scale>
          <a:sx n="77" d="100"/>
          <a:sy n="77" d="100"/>
        </p:scale>
        <p:origin x="952" y="48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560"/>
        <p:guide pos="2018"/>
        <p:guide pos="1247"/>
        <p:guide pos="5511"/>
        <p:guide pos="113"/>
        <p:guide pos="5647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541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reira, Rafael" userId="8e7a62db-6d3f-426c-a526-73ab2eb50c10" providerId="ADAL" clId="{77ECF7C0-3571-42B3-AEF5-94324BE9F028}"/>
    <pc:docChg chg="undo custSel addSld delSld modSld sldOrd">
      <pc:chgData name="Pereira, Rafael" userId="8e7a62db-6d3f-426c-a526-73ab2eb50c10" providerId="ADAL" clId="{77ECF7C0-3571-42B3-AEF5-94324BE9F028}" dt="2023-12-28T14:08:49.922" v="4512" actId="20577"/>
      <pc:docMkLst>
        <pc:docMk/>
      </pc:docMkLst>
      <pc:sldChg chg="add del">
        <pc:chgData name="Pereira, Rafael" userId="8e7a62db-6d3f-426c-a526-73ab2eb50c10" providerId="ADAL" clId="{77ECF7C0-3571-42B3-AEF5-94324BE9F028}" dt="2023-12-26T17:53:56.094" v="398" actId="47"/>
        <pc:sldMkLst>
          <pc:docMk/>
          <pc:sldMk cId="0" sldId="363"/>
        </pc:sldMkLst>
      </pc:sldChg>
      <pc:sldChg chg="modSp mod">
        <pc:chgData name="Pereira, Rafael" userId="8e7a62db-6d3f-426c-a526-73ab2eb50c10" providerId="ADAL" clId="{77ECF7C0-3571-42B3-AEF5-94324BE9F028}" dt="2023-12-26T18:22:25.274" v="2247" actId="20577"/>
        <pc:sldMkLst>
          <pc:docMk/>
          <pc:sldMk cId="3257912531" sldId="474"/>
        </pc:sldMkLst>
        <pc:spChg chg="mod">
          <ac:chgData name="Pereira, Rafael" userId="8e7a62db-6d3f-426c-a526-73ab2eb50c10" providerId="ADAL" clId="{77ECF7C0-3571-42B3-AEF5-94324BE9F028}" dt="2023-12-26T18:22:25.274" v="2247" actId="20577"/>
          <ac:spMkLst>
            <pc:docMk/>
            <pc:sldMk cId="3257912531" sldId="474"/>
            <ac:spMk id="3" creationId="{00000000-0000-0000-0000-000000000000}"/>
          </ac:spMkLst>
        </pc:spChg>
      </pc:sldChg>
      <pc:sldChg chg="modSp mod">
        <pc:chgData name="Pereira, Rafael" userId="8e7a62db-6d3f-426c-a526-73ab2eb50c10" providerId="ADAL" clId="{77ECF7C0-3571-42B3-AEF5-94324BE9F028}" dt="2023-12-27T11:36:10.058" v="4045" actId="20577"/>
        <pc:sldMkLst>
          <pc:docMk/>
          <pc:sldMk cId="2077255662" sldId="511"/>
        </pc:sldMkLst>
        <pc:spChg chg="mod">
          <ac:chgData name="Pereira, Rafael" userId="8e7a62db-6d3f-426c-a526-73ab2eb50c10" providerId="ADAL" clId="{77ECF7C0-3571-42B3-AEF5-94324BE9F028}" dt="2023-12-26T18:22:31.692" v="2252" actId="20577"/>
          <ac:spMkLst>
            <pc:docMk/>
            <pc:sldMk cId="2077255662" sldId="511"/>
            <ac:spMk id="3" creationId="{00000000-0000-0000-0000-000000000000}"/>
          </ac:spMkLst>
        </pc:spChg>
        <pc:spChg chg="mod">
          <ac:chgData name="Pereira, Rafael" userId="8e7a62db-6d3f-426c-a526-73ab2eb50c10" providerId="ADAL" clId="{77ECF7C0-3571-42B3-AEF5-94324BE9F028}" dt="2023-12-26T17:53:40.985" v="396" actId="20577"/>
          <ac:spMkLst>
            <pc:docMk/>
            <pc:sldMk cId="2077255662" sldId="511"/>
            <ac:spMk id="6" creationId="{00000000-0000-0000-0000-000000000000}"/>
          </ac:spMkLst>
        </pc:spChg>
        <pc:spChg chg="mod">
          <ac:chgData name="Pereira, Rafael" userId="8e7a62db-6d3f-426c-a526-73ab2eb50c10" providerId="ADAL" clId="{77ECF7C0-3571-42B3-AEF5-94324BE9F028}" dt="2023-12-27T11:36:10.058" v="4045" actId="20577"/>
          <ac:spMkLst>
            <pc:docMk/>
            <pc:sldMk cId="2077255662" sldId="511"/>
            <ac:spMk id="9" creationId="{693C8A57-418B-7CCA-C245-C32C3947EA4E}"/>
          </ac:spMkLst>
        </pc:spChg>
      </pc:sldChg>
      <pc:sldChg chg="addSp modSp add mod">
        <pc:chgData name="Pereira, Rafael" userId="8e7a62db-6d3f-426c-a526-73ab2eb50c10" providerId="ADAL" clId="{77ECF7C0-3571-42B3-AEF5-94324BE9F028}" dt="2023-12-27T11:39:17.552" v="4093" actId="20577"/>
        <pc:sldMkLst>
          <pc:docMk/>
          <pc:sldMk cId="2676833305" sldId="512"/>
        </pc:sldMkLst>
        <pc:spChg chg="mod">
          <ac:chgData name="Pereira, Rafael" userId="8e7a62db-6d3f-426c-a526-73ab2eb50c10" providerId="ADAL" clId="{77ECF7C0-3571-42B3-AEF5-94324BE9F028}" dt="2023-12-26T18:22:36.857" v="2257" actId="20577"/>
          <ac:spMkLst>
            <pc:docMk/>
            <pc:sldMk cId="2676833305" sldId="512"/>
            <ac:spMk id="3" creationId="{00000000-0000-0000-0000-000000000000}"/>
          </ac:spMkLst>
        </pc:spChg>
        <pc:spChg chg="mod">
          <ac:chgData name="Pereira, Rafael" userId="8e7a62db-6d3f-426c-a526-73ab2eb50c10" providerId="ADAL" clId="{77ECF7C0-3571-42B3-AEF5-94324BE9F028}" dt="2023-12-27T11:37:26.055" v="4050" actId="20577"/>
          <ac:spMkLst>
            <pc:docMk/>
            <pc:sldMk cId="2676833305" sldId="512"/>
            <ac:spMk id="9" creationId="{693C8A57-418B-7CCA-C245-C32C3947EA4E}"/>
          </ac:spMkLst>
        </pc:spChg>
        <pc:spChg chg="add mod">
          <ac:chgData name="Pereira, Rafael" userId="8e7a62db-6d3f-426c-a526-73ab2eb50c10" providerId="ADAL" clId="{77ECF7C0-3571-42B3-AEF5-94324BE9F028}" dt="2023-12-27T11:39:08.134" v="4078" actId="1076"/>
          <ac:spMkLst>
            <pc:docMk/>
            <pc:sldMk cId="2676833305" sldId="512"/>
            <ac:spMk id="11" creationId="{BC31FD02-A1A2-6BEF-11BE-70204156FEE7}"/>
          </ac:spMkLst>
        </pc:spChg>
        <pc:spChg chg="add mod">
          <ac:chgData name="Pereira, Rafael" userId="8e7a62db-6d3f-426c-a526-73ab2eb50c10" providerId="ADAL" clId="{77ECF7C0-3571-42B3-AEF5-94324BE9F028}" dt="2023-12-27T11:39:17.552" v="4093" actId="20577"/>
          <ac:spMkLst>
            <pc:docMk/>
            <pc:sldMk cId="2676833305" sldId="512"/>
            <ac:spMk id="12" creationId="{0964030F-42D4-DC2F-B665-54026B9BCD3A}"/>
          </ac:spMkLst>
        </pc:spChg>
        <pc:picChg chg="add mod">
          <ac:chgData name="Pereira, Rafael" userId="8e7a62db-6d3f-426c-a526-73ab2eb50c10" providerId="ADAL" clId="{77ECF7C0-3571-42B3-AEF5-94324BE9F028}" dt="2023-12-26T18:11:21.141" v="1146" actId="14100"/>
          <ac:picMkLst>
            <pc:docMk/>
            <pc:sldMk cId="2676833305" sldId="512"/>
            <ac:picMk id="2" creationId="{52542B16-93B6-3A66-5A85-84639386411A}"/>
          </ac:picMkLst>
        </pc:picChg>
        <pc:cxnChg chg="add mod">
          <ac:chgData name="Pereira, Rafael" userId="8e7a62db-6d3f-426c-a526-73ab2eb50c10" providerId="ADAL" clId="{77ECF7C0-3571-42B3-AEF5-94324BE9F028}" dt="2023-12-26T18:07:03.027" v="962" actId="692"/>
          <ac:cxnSpMkLst>
            <pc:docMk/>
            <pc:sldMk cId="2676833305" sldId="512"/>
            <ac:cxnSpMk id="8" creationId="{A80262E9-C735-A131-EE15-360EBEFD6D1D}"/>
          </ac:cxnSpMkLst>
        </pc:cxnChg>
        <pc:cxnChg chg="add mod">
          <ac:chgData name="Pereira, Rafael" userId="8e7a62db-6d3f-426c-a526-73ab2eb50c10" providerId="ADAL" clId="{77ECF7C0-3571-42B3-AEF5-94324BE9F028}" dt="2023-12-26T18:07:07.878" v="977" actId="1038"/>
          <ac:cxnSpMkLst>
            <pc:docMk/>
            <pc:sldMk cId="2676833305" sldId="512"/>
            <ac:cxnSpMk id="10" creationId="{21DC22C1-CEC2-D296-78FE-D5418E285A77}"/>
          </ac:cxnSpMkLst>
        </pc:cxnChg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2824921372" sldId="512"/>
        </pc:sldMkLst>
      </pc:sldChg>
      <pc:sldChg chg="del">
        <pc:chgData name="Pereira, Rafael" userId="8e7a62db-6d3f-426c-a526-73ab2eb50c10" providerId="ADAL" clId="{77ECF7C0-3571-42B3-AEF5-94324BE9F028}" dt="2023-12-26T17:54:01.203" v="400" actId="47"/>
        <pc:sldMkLst>
          <pc:docMk/>
          <pc:sldMk cId="1425983510" sldId="513"/>
        </pc:sldMkLst>
      </pc:sldChg>
      <pc:sldChg chg="add del">
        <pc:chgData name="Pereira, Rafael" userId="8e7a62db-6d3f-426c-a526-73ab2eb50c10" providerId="ADAL" clId="{77ECF7C0-3571-42B3-AEF5-94324BE9F028}" dt="2023-12-26T18:07:15.060" v="979" actId="47"/>
        <pc:sldMkLst>
          <pc:docMk/>
          <pc:sldMk cId="3260609248" sldId="513"/>
        </pc:sldMkLst>
      </pc:sldChg>
      <pc:sldChg chg="addSp delSp modSp add mod ord">
        <pc:chgData name="Pereira, Rafael" userId="8e7a62db-6d3f-426c-a526-73ab2eb50c10" providerId="ADAL" clId="{77ECF7C0-3571-42B3-AEF5-94324BE9F028}" dt="2023-12-27T11:39:56.251" v="4103" actId="20577"/>
        <pc:sldMkLst>
          <pc:docMk/>
          <pc:sldMk cId="284659177" sldId="514"/>
        </pc:sldMkLst>
        <pc:spChg chg="mod">
          <ac:chgData name="Pereira, Rafael" userId="8e7a62db-6d3f-426c-a526-73ab2eb50c10" providerId="ADAL" clId="{77ECF7C0-3571-42B3-AEF5-94324BE9F028}" dt="2023-12-26T18:22:41.985" v="2262" actId="20577"/>
          <ac:spMkLst>
            <pc:docMk/>
            <pc:sldMk cId="284659177" sldId="514"/>
            <ac:spMk id="3" creationId="{00000000-0000-0000-0000-000000000000}"/>
          </ac:spMkLst>
        </pc:spChg>
        <pc:spChg chg="mod">
          <ac:chgData name="Pereira, Rafael" userId="8e7a62db-6d3f-426c-a526-73ab2eb50c10" providerId="ADAL" clId="{77ECF7C0-3571-42B3-AEF5-94324BE9F028}" dt="2023-12-27T11:39:56.251" v="4103" actId="20577"/>
          <ac:spMkLst>
            <pc:docMk/>
            <pc:sldMk cId="284659177" sldId="514"/>
            <ac:spMk id="9" creationId="{693C8A57-418B-7CCA-C245-C32C3947EA4E}"/>
          </ac:spMkLst>
        </pc:spChg>
        <pc:picChg chg="del">
          <ac:chgData name="Pereira, Rafael" userId="8e7a62db-6d3f-426c-a526-73ab2eb50c10" providerId="ADAL" clId="{77ECF7C0-3571-42B3-AEF5-94324BE9F028}" dt="2023-12-26T18:08:59.077" v="1091" actId="478"/>
          <ac:picMkLst>
            <pc:docMk/>
            <pc:sldMk cId="284659177" sldId="514"/>
            <ac:picMk id="2" creationId="{52542B16-93B6-3A66-5A85-84639386411A}"/>
          </ac:picMkLst>
        </pc:picChg>
        <pc:picChg chg="add mod ord modCrop">
          <ac:chgData name="Pereira, Rafael" userId="8e7a62db-6d3f-426c-a526-73ab2eb50c10" providerId="ADAL" clId="{77ECF7C0-3571-42B3-AEF5-94324BE9F028}" dt="2023-12-26T18:09:39.045" v="1099" actId="167"/>
          <ac:picMkLst>
            <pc:docMk/>
            <pc:sldMk cId="284659177" sldId="514"/>
            <ac:picMk id="7" creationId="{7E8C1784-BDB6-D36E-5635-DFCE7A08EED8}"/>
          </ac:picMkLst>
        </pc:picChg>
        <pc:cxnChg chg="mod">
          <ac:chgData name="Pereira, Rafael" userId="8e7a62db-6d3f-426c-a526-73ab2eb50c10" providerId="ADAL" clId="{77ECF7C0-3571-42B3-AEF5-94324BE9F028}" dt="2023-12-26T18:09:53.734" v="1117" actId="1038"/>
          <ac:cxnSpMkLst>
            <pc:docMk/>
            <pc:sldMk cId="284659177" sldId="514"/>
            <ac:cxnSpMk id="8" creationId="{A80262E9-C735-A131-EE15-360EBEFD6D1D}"/>
          </ac:cxnSpMkLst>
        </pc:cxnChg>
        <pc:cxnChg chg="del">
          <ac:chgData name="Pereira, Rafael" userId="8e7a62db-6d3f-426c-a526-73ab2eb50c10" providerId="ADAL" clId="{77ECF7C0-3571-42B3-AEF5-94324BE9F028}" dt="2023-12-26T18:09:56.155" v="1118" actId="478"/>
          <ac:cxnSpMkLst>
            <pc:docMk/>
            <pc:sldMk cId="284659177" sldId="514"/>
            <ac:cxnSpMk id="10" creationId="{21DC22C1-CEC2-D296-78FE-D5418E285A77}"/>
          </ac:cxnSpMkLst>
        </pc:cxnChg>
      </pc:sldChg>
      <pc:sldChg chg="del">
        <pc:chgData name="Pereira, Rafael" userId="8e7a62db-6d3f-426c-a526-73ab2eb50c10" providerId="ADAL" clId="{77ECF7C0-3571-42B3-AEF5-94324BE9F028}" dt="2023-12-26T17:54:01.203" v="400" actId="47"/>
        <pc:sldMkLst>
          <pc:docMk/>
          <pc:sldMk cId="3761255528" sldId="514"/>
        </pc:sldMkLst>
      </pc:sldChg>
      <pc:sldChg chg="addSp delSp modSp add mod">
        <pc:chgData name="Pereira, Rafael" userId="8e7a62db-6d3f-426c-a526-73ab2eb50c10" providerId="ADAL" clId="{77ECF7C0-3571-42B3-AEF5-94324BE9F028}" dt="2023-12-27T11:46:49.620" v="4307" actId="790"/>
        <pc:sldMkLst>
          <pc:docMk/>
          <pc:sldMk cId="37888573" sldId="515"/>
        </pc:sldMkLst>
        <pc:spChg chg="mod">
          <ac:chgData name="Pereira, Rafael" userId="8e7a62db-6d3f-426c-a526-73ab2eb50c10" providerId="ADAL" clId="{77ECF7C0-3571-42B3-AEF5-94324BE9F028}" dt="2023-12-26T18:22:56.855" v="2277" actId="20577"/>
          <ac:spMkLst>
            <pc:docMk/>
            <pc:sldMk cId="37888573" sldId="515"/>
            <ac:spMk id="3" creationId="{00000000-0000-0000-0000-000000000000}"/>
          </ac:spMkLst>
        </pc:spChg>
        <pc:spChg chg="mod">
          <ac:chgData name="Pereira, Rafael" userId="8e7a62db-6d3f-426c-a526-73ab2eb50c10" providerId="ADAL" clId="{77ECF7C0-3571-42B3-AEF5-94324BE9F028}" dt="2023-12-27T11:46:49.620" v="4307" actId="790"/>
          <ac:spMkLst>
            <pc:docMk/>
            <pc:sldMk cId="37888573" sldId="515"/>
            <ac:spMk id="9" creationId="{693C8A57-418B-7CCA-C245-C32C3947EA4E}"/>
          </ac:spMkLst>
        </pc:spChg>
        <pc:spChg chg="add mod">
          <ac:chgData name="Pereira, Rafael" userId="8e7a62db-6d3f-426c-a526-73ab2eb50c10" providerId="ADAL" clId="{77ECF7C0-3571-42B3-AEF5-94324BE9F028}" dt="2023-12-26T19:58:10.532" v="3435" actId="692"/>
          <ac:spMkLst>
            <pc:docMk/>
            <pc:sldMk cId="37888573" sldId="515"/>
            <ac:spMk id="17" creationId="{2C4125CD-D088-2634-5309-B363E478AA3B}"/>
          </ac:spMkLst>
        </pc:spChg>
        <pc:picChg chg="del mod">
          <ac:chgData name="Pereira, Rafael" userId="8e7a62db-6d3f-426c-a526-73ab2eb50c10" providerId="ADAL" clId="{77ECF7C0-3571-42B3-AEF5-94324BE9F028}" dt="2023-12-26T18:39:13.883" v="2881" actId="478"/>
          <ac:picMkLst>
            <pc:docMk/>
            <pc:sldMk cId="37888573" sldId="515"/>
            <ac:picMk id="2" creationId="{52542B16-93B6-3A66-5A85-84639386411A}"/>
          </ac:picMkLst>
        </pc:picChg>
        <pc:picChg chg="add mod">
          <ac:chgData name="Pereira, Rafael" userId="8e7a62db-6d3f-426c-a526-73ab2eb50c10" providerId="ADAL" clId="{77ECF7C0-3571-42B3-AEF5-94324BE9F028}" dt="2023-12-26T19:55:10.409" v="3409" actId="1076"/>
          <ac:picMkLst>
            <pc:docMk/>
            <pc:sldMk cId="37888573" sldId="515"/>
            <ac:picMk id="11" creationId="{2D24B552-3BE1-2AB3-420A-2A3ACCD2D5C7}"/>
          </ac:picMkLst>
        </pc:picChg>
        <pc:picChg chg="add mod modCrop">
          <ac:chgData name="Pereira, Rafael" userId="8e7a62db-6d3f-426c-a526-73ab2eb50c10" providerId="ADAL" clId="{77ECF7C0-3571-42B3-AEF5-94324BE9F028}" dt="2023-12-26T19:57:43.973" v="3420" actId="1076"/>
          <ac:picMkLst>
            <pc:docMk/>
            <pc:sldMk cId="37888573" sldId="515"/>
            <ac:picMk id="16" creationId="{86FB9C86-B64C-3B46-227C-225ED5B7FF13}"/>
          </ac:picMkLst>
        </pc:picChg>
        <pc:cxnChg chg="del">
          <ac:chgData name="Pereira, Rafael" userId="8e7a62db-6d3f-426c-a526-73ab2eb50c10" providerId="ADAL" clId="{77ECF7C0-3571-42B3-AEF5-94324BE9F028}" dt="2023-12-26T18:39:15.192" v="2882" actId="478"/>
          <ac:cxnSpMkLst>
            <pc:docMk/>
            <pc:sldMk cId="37888573" sldId="515"/>
            <ac:cxnSpMk id="8" creationId="{A80262E9-C735-A131-EE15-360EBEFD6D1D}"/>
          </ac:cxnSpMkLst>
        </pc:cxnChg>
        <pc:cxnChg chg="del">
          <ac:chgData name="Pereira, Rafael" userId="8e7a62db-6d3f-426c-a526-73ab2eb50c10" providerId="ADAL" clId="{77ECF7C0-3571-42B3-AEF5-94324BE9F028}" dt="2023-12-26T18:39:15.925" v="2883" actId="478"/>
          <ac:cxnSpMkLst>
            <pc:docMk/>
            <pc:sldMk cId="37888573" sldId="515"/>
            <ac:cxnSpMk id="10" creationId="{21DC22C1-CEC2-D296-78FE-D5418E285A77}"/>
          </ac:cxnSpMkLst>
        </pc:cxnChg>
        <pc:cxnChg chg="add mod">
          <ac:chgData name="Pereira, Rafael" userId="8e7a62db-6d3f-426c-a526-73ab2eb50c10" providerId="ADAL" clId="{77ECF7C0-3571-42B3-AEF5-94324BE9F028}" dt="2023-12-26T19:55:35.574" v="3414" actId="1037"/>
          <ac:cxnSpMkLst>
            <pc:docMk/>
            <pc:sldMk cId="37888573" sldId="515"/>
            <ac:cxnSpMk id="12" creationId="{A4C2893A-A5DF-FC60-9CF2-61E1DE726F1D}"/>
          </ac:cxnSpMkLst>
        </pc:cxnChg>
      </pc:sldChg>
      <pc:sldChg chg="addSp delSp modSp add del mod">
        <pc:chgData name="Pereira, Rafael" userId="8e7a62db-6d3f-426c-a526-73ab2eb50c10" providerId="ADAL" clId="{77ECF7C0-3571-42B3-AEF5-94324BE9F028}" dt="2023-12-27T11:43:39.504" v="4141" actId="47"/>
        <pc:sldMkLst>
          <pc:docMk/>
          <pc:sldMk cId="2598107895" sldId="516"/>
        </pc:sldMkLst>
        <pc:spChg chg="mod">
          <ac:chgData name="Pereira, Rafael" userId="8e7a62db-6d3f-426c-a526-73ab2eb50c10" providerId="ADAL" clId="{77ECF7C0-3571-42B3-AEF5-94324BE9F028}" dt="2023-12-26T18:22:50.893" v="2272" actId="20577"/>
          <ac:spMkLst>
            <pc:docMk/>
            <pc:sldMk cId="2598107895" sldId="516"/>
            <ac:spMk id="3" creationId="{00000000-0000-0000-0000-000000000000}"/>
          </ac:spMkLst>
        </pc:spChg>
        <pc:spChg chg="mod">
          <ac:chgData name="Pereira, Rafael" userId="8e7a62db-6d3f-426c-a526-73ab2eb50c10" providerId="ADAL" clId="{77ECF7C0-3571-42B3-AEF5-94324BE9F028}" dt="2023-12-26T20:23:38.675" v="3559" actId="113"/>
          <ac:spMkLst>
            <pc:docMk/>
            <pc:sldMk cId="2598107895" sldId="516"/>
            <ac:spMk id="9" creationId="{693C8A57-418B-7CCA-C245-C32C3947EA4E}"/>
          </ac:spMkLst>
        </pc:spChg>
        <pc:picChg chg="add mod ord modCrop">
          <ac:chgData name="Pereira, Rafael" userId="8e7a62db-6d3f-426c-a526-73ab2eb50c10" providerId="ADAL" clId="{77ECF7C0-3571-42B3-AEF5-94324BE9F028}" dt="2023-12-26T18:10:49.166" v="1132" actId="14100"/>
          <ac:picMkLst>
            <pc:docMk/>
            <pc:sldMk cId="2598107895" sldId="516"/>
            <ac:picMk id="2" creationId="{B6453B05-7BCF-DA88-9326-001E1FA81A49}"/>
          </ac:picMkLst>
        </pc:picChg>
        <pc:picChg chg="del">
          <ac:chgData name="Pereira, Rafael" userId="8e7a62db-6d3f-426c-a526-73ab2eb50c10" providerId="ADAL" clId="{77ECF7C0-3571-42B3-AEF5-94324BE9F028}" dt="2023-12-26T18:10:09.588" v="1120" actId="478"/>
          <ac:picMkLst>
            <pc:docMk/>
            <pc:sldMk cId="2598107895" sldId="516"/>
            <ac:picMk id="7" creationId="{7E8C1784-BDB6-D36E-5635-DFCE7A08EED8}"/>
          </ac:picMkLst>
        </pc:picChg>
        <pc:cxnChg chg="mod">
          <ac:chgData name="Pereira, Rafael" userId="8e7a62db-6d3f-426c-a526-73ab2eb50c10" providerId="ADAL" clId="{77ECF7C0-3571-42B3-AEF5-94324BE9F028}" dt="2023-12-26T18:10:57.570" v="1135" actId="1076"/>
          <ac:cxnSpMkLst>
            <pc:docMk/>
            <pc:sldMk cId="2598107895" sldId="516"/>
            <ac:cxnSpMk id="8" creationId="{A80262E9-C735-A131-EE15-360EBEFD6D1D}"/>
          </ac:cxnSpMkLst>
        </pc:cxnChg>
        <pc:cxnChg chg="add mod">
          <ac:chgData name="Pereira, Rafael" userId="8e7a62db-6d3f-426c-a526-73ab2eb50c10" providerId="ADAL" clId="{77ECF7C0-3571-42B3-AEF5-94324BE9F028}" dt="2023-12-26T18:11:05.558" v="1141" actId="1038"/>
          <ac:cxnSpMkLst>
            <pc:docMk/>
            <pc:sldMk cId="2598107895" sldId="516"/>
            <ac:cxnSpMk id="11" creationId="{55F22167-1755-04A2-92D1-39D63C1943E8}"/>
          </ac:cxnSpMkLst>
        </pc:cxnChg>
        <pc:cxnChg chg="add mod">
          <ac:chgData name="Pereira, Rafael" userId="8e7a62db-6d3f-426c-a526-73ab2eb50c10" providerId="ADAL" clId="{77ECF7C0-3571-42B3-AEF5-94324BE9F028}" dt="2023-12-26T18:11:11.921" v="1143" actId="1076"/>
          <ac:cxnSpMkLst>
            <pc:docMk/>
            <pc:sldMk cId="2598107895" sldId="516"/>
            <ac:cxnSpMk id="12" creationId="{70952551-C0B4-084B-3132-5EB185F95CDF}"/>
          </ac:cxnSpMkLst>
        </pc:cxnChg>
        <pc:cxnChg chg="add mod">
          <ac:chgData name="Pereira, Rafael" userId="8e7a62db-6d3f-426c-a526-73ab2eb50c10" providerId="ADAL" clId="{77ECF7C0-3571-42B3-AEF5-94324BE9F028}" dt="2023-12-26T18:11:14.715" v="1145" actId="1076"/>
          <ac:cxnSpMkLst>
            <pc:docMk/>
            <pc:sldMk cId="2598107895" sldId="516"/>
            <ac:cxnSpMk id="13" creationId="{1D6E6D9D-DF5E-BD43-AA58-D53FE82F801C}"/>
          </ac:cxnSpMkLst>
        </pc:cxnChg>
      </pc:sldChg>
      <pc:sldChg chg="addSp delSp modSp add mod">
        <pc:chgData name="Pereira, Rafael" userId="8e7a62db-6d3f-426c-a526-73ab2eb50c10" providerId="ADAL" clId="{77ECF7C0-3571-42B3-AEF5-94324BE9F028}" dt="2023-12-27T11:41:40.630" v="4131" actId="20577"/>
        <pc:sldMkLst>
          <pc:docMk/>
          <pc:sldMk cId="2855210166" sldId="517"/>
        </pc:sldMkLst>
        <pc:spChg chg="mod">
          <ac:chgData name="Pereira, Rafael" userId="8e7a62db-6d3f-426c-a526-73ab2eb50c10" providerId="ADAL" clId="{77ECF7C0-3571-42B3-AEF5-94324BE9F028}" dt="2023-12-26T18:22:46.609" v="2267" actId="20577"/>
          <ac:spMkLst>
            <pc:docMk/>
            <pc:sldMk cId="2855210166" sldId="517"/>
            <ac:spMk id="3" creationId="{00000000-0000-0000-0000-000000000000}"/>
          </ac:spMkLst>
        </pc:spChg>
        <pc:spChg chg="mod">
          <ac:chgData name="Pereira, Rafael" userId="8e7a62db-6d3f-426c-a526-73ab2eb50c10" providerId="ADAL" clId="{77ECF7C0-3571-42B3-AEF5-94324BE9F028}" dt="2023-12-27T11:41:40.630" v="4131" actId="20577"/>
          <ac:spMkLst>
            <pc:docMk/>
            <pc:sldMk cId="2855210166" sldId="517"/>
            <ac:spMk id="9" creationId="{693C8A57-418B-7CCA-C245-C32C3947EA4E}"/>
          </ac:spMkLst>
        </pc:spChg>
        <pc:picChg chg="add del mod">
          <ac:chgData name="Pereira, Rafael" userId="8e7a62db-6d3f-426c-a526-73ab2eb50c10" providerId="ADAL" clId="{77ECF7C0-3571-42B3-AEF5-94324BE9F028}" dt="2023-12-26T18:13:46.983" v="1340"/>
          <ac:picMkLst>
            <pc:docMk/>
            <pc:sldMk cId="2855210166" sldId="517"/>
            <ac:picMk id="2" creationId="{3BFD2DC8-8EF9-BD81-6E4B-5506E08BE154}"/>
          </ac:picMkLst>
        </pc:picChg>
        <pc:picChg chg="del">
          <ac:chgData name="Pereira, Rafael" userId="8e7a62db-6d3f-426c-a526-73ab2eb50c10" providerId="ADAL" clId="{77ECF7C0-3571-42B3-AEF5-94324BE9F028}" dt="2023-12-26T18:13:45.144" v="1338" actId="478"/>
          <ac:picMkLst>
            <pc:docMk/>
            <pc:sldMk cId="2855210166" sldId="517"/>
            <ac:picMk id="7" creationId="{7E8C1784-BDB6-D36E-5635-DFCE7A08EED8}"/>
          </ac:picMkLst>
        </pc:picChg>
        <pc:picChg chg="add mod">
          <ac:chgData name="Pereira, Rafael" userId="8e7a62db-6d3f-426c-a526-73ab2eb50c10" providerId="ADAL" clId="{77ECF7C0-3571-42B3-AEF5-94324BE9F028}" dt="2023-12-26T18:13:49.378" v="1342"/>
          <ac:picMkLst>
            <pc:docMk/>
            <pc:sldMk cId="2855210166" sldId="517"/>
            <ac:picMk id="14" creationId="{0FCF4586-81A8-AFFC-0C4C-3D214DCE543A}"/>
          </ac:picMkLst>
        </pc:picChg>
        <pc:cxnChg chg="del">
          <ac:chgData name="Pereira, Rafael" userId="8e7a62db-6d3f-426c-a526-73ab2eb50c10" providerId="ADAL" clId="{77ECF7C0-3571-42B3-AEF5-94324BE9F028}" dt="2023-12-26T18:13:48.893" v="1341" actId="478"/>
          <ac:cxnSpMkLst>
            <pc:docMk/>
            <pc:sldMk cId="2855210166" sldId="517"/>
            <ac:cxnSpMk id="8" creationId="{A80262E9-C735-A131-EE15-360EBEFD6D1D}"/>
          </ac:cxnSpMkLst>
        </pc:cxnChg>
        <pc:cxnChg chg="add del mod">
          <ac:chgData name="Pereira, Rafael" userId="8e7a62db-6d3f-426c-a526-73ab2eb50c10" providerId="ADAL" clId="{77ECF7C0-3571-42B3-AEF5-94324BE9F028}" dt="2023-12-26T18:13:46.983" v="1340"/>
          <ac:cxnSpMkLst>
            <pc:docMk/>
            <pc:sldMk cId="2855210166" sldId="517"/>
            <ac:cxnSpMk id="10" creationId="{0FAA33A4-765C-B56A-58E4-4BE08D0F26A6}"/>
          </ac:cxnSpMkLst>
        </pc:cxnChg>
        <pc:cxnChg chg="add del mod">
          <ac:chgData name="Pereira, Rafael" userId="8e7a62db-6d3f-426c-a526-73ab2eb50c10" providerId="ADAL" clId="{77ECF7C0-3571-42B3-AEF5-94324BE9F028}" dt="2023-12-26T18:13:46.983" v="1340"/>
          <ac:cxnSpMkLst>
            <pc:docMk/>
            <pc:sldMk cId="2855210166" sldId="517"/>
            <ac:cxnSpMk id="11" creationId="{CA4A819A-8F59-21B4-D8C6-13286FE17C90}"/>
          </ac:cxnSpMkLst>
        </pc:cxnChg>
        <pc:cxnChg chg="add del mod">
          <ac:chgData name="Pereira, Rafael" userId="8e7a62db-6d3f-426c-a526-73ab2eb50c10" providerId="ADAL" clId="{77ECF7C0-3571-42B3-AEF5-94324BE9F028}" dt="2023-12-26T18:13:46.983" v="1340"/>
          <ac:cxnSpMkLst>
            <pc:docMk/>
            <pc:sldMk cId="2855210166" sldId="517"/>
            <ac:cxnSpMk id="12" creationId="{10329B9E-DF8F-B811-7C82-575AA5B57020}"/>
          </ac:cxnSpMkLst>
        </pc:cxnChg>
        <pc:cxnChg chg="add del mod">
          <ac:chgData name="Pereira, Rafael" userId="8e7a62db-6d3f-426c-a526-73ab2eb50c10" providerId="ADAL" clId="{77ECF7C0-3571-42B3-AEF5-94324BE9F028}" dt="2023-12-26T18:13:46.983" v="1340"/>
          <ac:cxnSpMkLst>
            <pc:docMk/>
            <pc:sldMk cId="2855210166" sldId="517"/>
            <ac:cxnSpMk id="13" creationId="{B85F0257-D8B4-60F0-28EA-DD59BDDA600B}"/>
          </ac:cxnSpMkLst>
        </pc:cxnChg>
        <pc:cxnChg chg="add mod">
          <ac:chgData name="Pereira, Rafael" userId="8e7a62db-6d3f-426c-a526-73ab2eb50c10" providerId="ADAL" clId="{77ECF7C0-3571-42B3-AEF5-94324BE9F028}" dt="2023-12-26T18:13:49.378" v="1342"/>
          <ac:cxnSpMkLst>
            <pc:docMk/>
            <pc:sldMk cId="2855210166" sldId="517"/>
            <ac:cxnSpMk id="15" creationId="{8CA4E313-D685-EE11-E09A-9DF69A231C67}"/>
          </ac:cxnSpMkLst>
        </pc:cxnChg>
        <pc:cxnChg chg="add mod">
          <ac:chgData name="Pereira, Rafael" userId="8e7a62db-6d3f-426c-a526-73ab2eb50c10" providerId="ADAL" clId="{77ECF7C0-3571-42B3-AEF5-94324BE9F028}" dt="2023-12-26T18:13:49.378" v="1342"/>
          <ac:cxnSpMkLst>
            <pc:docMk/>
            <pc:sldMk cId="2855210166" sldId="517"/>
            <ac:cxnSpMk id="16" creationId="{F4C4D7DC-8D94-655E-B02C-3FA87B27ED1E}"/>
          </ac:cxnSpMkLst>
        </pc:cxnChg>
        <pc:cxnChg chg="add mod">
          <ac:chgData name="Pereira, Rafael" userId="8e7a62db-6d3f-426c-a526-73ab2eb50c10" providerId="ADAL" clId="{77ECF7C0-3571-42B3-AEF5-94324BE9F028}" dt="2023-12-26T18:13:49.378" v="1342"/>
          <ac:cxnSpMkLst>
            <pc:docMk/>
            <pc:sldMk cId="2855210166" sldId="517"/>
            <ac:cxnSpMk id="17" creationId="{3BAAB324-A878-F8C8-6D08-7A9F96AEFE4F}"/>
          </ac:cxnSpMkLst>
        </pc:cxnChg>
        <pc:cxnChg chg="add mod">
          <ac:chgData name="Pereira, Rafael" userId="8e7a62db-6d3f-426c-a526-73ab2eb50c10" providerId="ADAL" clId="{77ECF7C0-3571-42B3-AEF5-94324BE9F028}" dt="2023-12-26T18:13:49.378" v="1342"/>
          <ac:cxnSpMkLst>
            <pc:docMk/>
            <pc:sldMk cId="2855210166" sldId="517"/>
            <ac:cxnSpMk id="18" creationId="{683BD140-C786-28AB-17A3-CDF971483320}"/>
          </ac:cxnSpMkLst>
        </pc:cxnChg>
      </pc:sldChg>
      <pc:sldChg chg="addSp modSp add mod">
        <pc:chgData name="Pereira, Rafael" userId="8e7a62db-6d3f-426c-a526-73ab2eb50c10" providerId="ADAL" clId="{77ECF7C0-3571-42B3-AEF5-94324BE9F028}" dt="2023-12-26T18:36:10.165" v="2852" actId="790"/>
        <pc:sldMkLst>
          <pc:docMk/>
          <pc:sldMk cId="2562493190" sldId="518"/>
        </pc:sldMkLst>
        <pc:spChg chg="mod">
          <ac:chgData name="Pereira, Rafael" userId="8e7a62db-6d3f-426c-a526-73ab2eb50c10" providerId="ADAL" clId="{77ECF7C0-3571-42B3-AEF5-94324BE9F028}" dt="2023-12-26T18:36:10.165" v="2852" actId="790"/>
          <ac:spMkLst>
            <pc:docMk/>
            <pc:sldMk cId="2562493190" sldId="518"/>
            <ac:spMk id="9" creationId="{693C8A57-418B-7CCA-C245-C32C3947EA4E}"/>
          </ac:spMkLst>
        </pc:spChg>
        <pc:picChg chg="add mod">
          <ac:chgData name="Pereira, Rafael" userId="8e7a62db-6d3f-426c-a526-73ab2eb50c10" providerId="ADAL" clId="{77ECF7C0-3571-42B3-AEF5-94324BE9F028}" dt="2023-12-26T18:29:47.783" v="2641" actId="1076"/>
          <ac:picMkLst>
            <pc:docMk/>
            <pc:sldMk cId="2562493190" sldId="518"/>
            <ac:picMk id="10" creationId="{F69336E5-83C0-F931-3A63-6AA776DCB9D0}"/>
          </ac:picMkLst>
        </pc:picChg>
        <pc:cxnChg chg="mod">
          <ac:chgData name="Pereira, Rafael" userId="8e7a62db-6d3f-426c-a526-73ab2eb50c10" providerId="ADAL" clId="{77ECF7C0-3571-42B3-AEF5-94324BE9F028}" dt="2023-12-26T18:27:22.488" v="2630" actId="1076"/>
          <ac:cxnSpMkLst>
            <pc:docMk/>
            <pc:sldMk cId="2562493190" sldId="518"/>
            <ac:cxnSpMk id="8" creationId="{A80262E9-C735-A131-EE15-360EBEFD6D1D}"/>
          </ac:cxnSpMkLst>
        </pc:cxnChg>
      </pc:sldChg>
      <pc:sldChg chg="addSp delSp modSp add mod">
        <pc:chgData name="Pereira, Rafael" userId="8e7a62db-6d3f-426c-a526-73ab2eb50c10" providerId="ADAL" clId="{77ECF7C0-3571-42B3-AEF5-94324BE9F028}" dt="2023-12-27T11:42:39.913" v="4140" actId="20577"/>
        <pc:sldMkLst>
          <pc:docMk/>
          <pc:sldMk cId="2296796920" sldId="519"/>
        </pc:sldMkLst>
        <pc:spChg chg="del">
          <ac:chgData name="Pereira, Rafael" userId="8e7a62db-6d3f-426c-a526-73ab2eb50c10" providerId="ADAL" clId="{77ECF7C0-3571-42B3-AEF5-94324BE9F028}" dt="2023-12-26T18:31:40.119" v="2658" actId="478"/>
          <ac:spMkLst>
            <pc:docMk/>
            <pc:sldMk cId="2296796920" sldId="519"/>
            <ac:spMk id="9" creationId="{693C8A57-418B-7CCA-C245-C32C3947EA4E}"/>
          </ac:spMkLst>
        </pc:spChg>
        <pc:spChg chg="add del mod">
          <ac:chgData name="Pereira, Rafael" userId="8e7a62db-6d3f-426c-a526-73ab2eb50c10" providerId="ADAL" clId="{77ECF7C0-3571-42B3-AEF5-94324BE9F028}" dt="2023-12-26T18:31:42.363" v="2659" actId="478"/>
          <ac:spMkLst>
            <pc:docMk/>
            <pc:sldMk cId="2296796920" sldId="519"/>
            <ac:spMk id="13" creationId="{3601920D-AF40-F7DC-B3FC-82B605960459}"/>
          </ac:spMkLst>
        </pc:spChg>
        <pc:spChg chg="add mod">
          <ac:chgData name="Pereira, Rafael" userId="8e7a62db-6d3f-426c-a526-73ab2eb50c10" providerId="ADAL" clId="{77ECF7C0-3571-42B3-AEF5-94324BE9F028}" dt="2023-12-27T11:42:39.913" v="4140" actId="20577"/>
          <ac:spMkLst>
            <pc:docMk/>
            <pc:sldMk cId="2296796920" sldId="519"/>
            <ac:spMk id="14" creationId="{1B7DE87F-16D3-E6DD-4BFD-D548A189DE8E}"/>
          </ac:spMkLst>
        </pc:spChg>
        <pc:picChg chg="del">
          <ac:chgData name="Pereira, Rafael" userId="8e7a62db-6d3f-426c-a526-73ab2eb50c10" providerId="ADAL" clId="{77ECF7C0-3571-42B3-AEF5-94324BE9F028}" dt="2023-12-26T18:30:34.535" v="2644" actId="478"/>
          <ac:picMkLst>
            <pc:docMk/>
            <pc:sldMk cId="2296796920" sldId="519"/>
            <ac:picMk id="7" creationId="{7E8C1784-BDB6-D36E-5635-DFCE7A08EED8}"/>
          </ac:picMkLst>
        </pc:picChg>
        <pc:picChg chg="del">
          <ac:chgData name="Pereira, Rafael" userId="8e7a62db-6d3f-426c-a526-73ab2eb50c10" providerId="ADAL" clId="{77ECF7C0-3571-42B3-AEF5-94324BE9F028}" dt="2023-12-26T18:30:34.128" v="2643" actId="478"/>
          <ac:picMkLst>
            <pc:docMk/>
            <pc:sldMk cId="2296796920" sldId="519"/>
            <ac:picMk id="10" creationId="{F69336E5-83C0-F931-3A63-6AA776DCB9D0}"/>
          </ac:picMkLst>
        </pc:picChg>
        <pc:picChg chg="add mod ord modCrop">
          <ac:chgData name="Pereira, Rafael" userId="8e7a62db-6d3f-426c-a526-73ab2eb50c10" providerId="ADAL" clId="{77ECF7C0-3571-42B3-AEF5-94324BE9F028}" dt="2023-12-26T18:30:57.267" v="2652" actId="14100"/>
          <ac:picMkLst>
            <pc:docMk/>
            <pc:sldMk cId="2296796920" sldId="519"/>
            <ac:picMk id="11" creationId="{4BF993B1-49FD-D126-B93D-A79F4072AB3D}"/>
          </ac:picMkLst>
        </pc:picChg>
        <pc:cxnChg chg="del">
          <ac:chgData name="Pereira, Rafael" userId="8e7a62db-6d3f-426c-a526-73ab2eb50c10" providerId="ADAL" clId="{77ECF7C0-3571-42B3-AEF5-94324BE9F028}" dt="2023-12-26T18:30:40.724" v="2647" actId="478"/>
          <ac:cxnSpMkLst>
            <pc:docMk/>
            <pc:sldMk cId="2296796920" sldId="519"/>
            <ac:cxnSpMk id="8" creationId="{A80262E9-C735-A131-EE15-360EBEFD6D1D}"/>
          </ac:cxnSpMkLst>
        </pc:cxnChg>
      </pc:sldChg>
      <pc:sldChg chg="addSp delSp modSp add del mod">
        <pc:chgData name="Pereira, Rafael" userId="8e7a62db-6d3f-426c-a526-73ab2eb50c10" providerId="ADAL" clId="{77ECF7C0-3571-42B3-AEF5-94324BE9F028}" dt="2023-12-26T18:44:04.400" v="2904" actId="47"/>
        <pc:sldMkLst>
          <pc:docMk/>
          <pc:sldMk cId="3399547707" sldId="520"/>
        </pc:sldMkLst>
        <pc:spChg chg="add del mod">
          <ac:chgData name="Pereira, Rafael" userId="8e7a62db-6d3f-426c-a526-73ab2eb50c10" providerId="ADAL" clId="{77ECF7C0-3571-42B3-AEF5-94324BE9F028}" dt="2023-12-26T18:43:16.327" v="2889" actId="478"/>
          <ac:spMkLst>
            <pc:docMk/>
            <pc:sldMk cId="3399547707" sldId="520"/>
            <ac:spMk id="7" creationId="{3E7F1FE7-CBB7-1B5E-74FE-D676E0861A35}"/>
          </ac:spMkLst>
        </pc:spChg>
        <pc:spChg chg="add mod">
          <ac:chgData name="Pereira, Rafael" userId="8e7a62db-6d3f-426c-a526-73ab2eb50c10" providerId="ADAL" clId="{77ECF7C0-3571-42B3-AEF5-94324BE9F028}" dt="2023-12-26T18:44:02.444" v="2903" actId="6549"/>
          <ac:spMkLst>
            <pc:docMk/>
            <pc:sldMk cId="3399547707" sldId="520"/>
            <ac:spMk id="10" creationId="{9C8E004F-6EED-A801-D88C-0F519F49F522}"/>
          </ac:spMkLst>
        </pc:spChg>
        <pc:spChg chg="del">
          <ac:chgData name="Pereira, Rafael" userId="8e7a62db-6d3f-426c-a526-73ab2eb50c10" providerId="ADAL" clId="{77ECF7C0-3571-42B3-AEF5-94324BE9F028}" dt="2023-12-26T18:43:14.415" v="2888" actId="478"/>
          <ac:spMkLst>
            <pc:docMk/>
            <pc:sldMk cId="3399547707" sldId="520"/>
            <ac:spMk id="14" creationId="{1B7DE87F-16D3-E6DD-4BFD-D548A189DE8E}"/>
          </ac:spMkLst>
        </pc:spChg>
        <pc:picChg chg="add mod modCrop">
          <ac:chgData name="Pereira, Rafael" userId="8e7a62db-6d3f-426c-a526-73ab2eb50c10" providerId="ADAL" clId="{77ECF7C0-3571-42B3-AEF5-94324BE9F028}" dt="2023-12-26T18:43:58.890" v="2902" actId="1076"/>
          <ac:picMkLst>
            <pc:docMk/>
            <pc:sldMk cId="3399547707" sldId="520"/>
            <ac:picMk id="9" creationId="{595371DE-8090-DD43-72EB-CED6ACD86EE0}"/>
          </ac:picMkLst>
        </pc:picChg>
        <pc:picChg chg="del">
          <ac:chgData name="Pereira, Rafael" userId="8e7a62db-6d3f-426c-a526-73ab2eb50c10" providerId="ADAL" clId="{77ECF7C0-3571-42B3-AEF5-94324BE9F028}" dt="2023-12-26T18:43:12.699" v="2887" actId="478"/>
          <ac:picMkLst>
            <pc:docMk/>
            <pc:sldMk cId="3399547707" sldId="520"/>
            <ac:picMk id="11" creationId="{4BF993B1-49FD-D126-B93D-A79F4072AB3D}"/>
          </ac:picMkLst>
        </pc:picChg>
      </pc:sldChg>
      <pc:sldChg chg="add del">
        <pc:chgData name="Pereira, Rafael" userId="8e7a62db-6d3f-426c-a526-73ab2eb50c10" providerId="ADAL" clId="{77ECF7C0-3571-42B3-AEF5-94324BE9F028}" dt="2023-12-26T18:49:25.763" v="3403" actId="47"/>
        <pc:sldMkLst>
          <pc:docMk/>
          <pc:sldMk cId="4111711592" sldId="520"/>
        </pc:sldMkLst>
      </pc:sldChg>
      <pc:sldChg chg="addSp modSp add mod">
        <pc:chgData name="Pereira, Rafael" userId="8e7a62db-6d3f-426c-a526-73ab2eb50c10" providerId="ADAL" clId="{77ECF7C0-3571-42B3-AEF5-94324BE9F028}" dt="2023-12-27T11:45:24.010" v="4162" actId="114"/>
        <pc:sldMkLst>
          <pc:docMk/>
          <pc:sldMk cId="1530805742" sldId="521"/>
        </pc:sldMkLst>
        <pc:spChg chg="mod">
          <ac:chgData name="Pereira, Rafael" userId="8e7a62db-6d3f-426c-a526-73ab2eb50c10" providerId="ADAL" clId="{77ECF7C0-3571-42B3-AEF5-94324BE9F028}" dt="2023-12-27T11:45:24.010" v="4162" actId="114"/>
          <ac:spMkLst>
            <pc:docMk/>
            <pc:sldMk cId="1530805742" sldId="521"/>
            <ac:spMk id="9" creationId="{693C8A57-418B-7CCA-C245-C32C3947EA4E}"/>
          </ac:spMkLst>
        </pc:spChg>
        <pc:spChg chg="add mod">
          <ac:chgData name="Pereira, Rafael" userId="8e7a62db-6d3f-426c-a526-73ab2eb50c10" providerId="ADAL" clId="{77ECF7C0-3571-42B3-AEF5-94324BE9F028}" dt="2023-12-26T20:01:01.269" v="3478" actId="14100"/>
          <ac:spMkLst>
            <pc:docMk/>
            <pc:sldMk cId="1530805742" sldId="521"/>
            <ac:spMk id="14" creationId="{1E3F0FEE-9E0D-D78A-3B67-9A9476CC1BCE}"/>
          </ac:spMkLst>
        </pc:spChg>
        <pc:picChg chg="add mod">
          <ac:chgData name="Pereira, Rafael" userId="8e7a62db-6d3f-426c-a526-73ab2eb50c10" providerId="ADAL" clId="{77ECF7C0-3571-42B3-AEF5-94324BE9F028}" dt="2023-12-26T19:59:24.802" v="3440"/>
          <ac:picMkLst>
            <pc:docMk/>
            <pc:sldMk cId="1530805742" sldId="521"/>
            <ac:picMk id="2" creationId="{537962DE-1CE8-2316-8A16-ACB7257E9685}"/>
          </ac:picMkLst>
        </pc:picChg>
        <pc:picChg chg="add mod modCrop">
          <ac:chgData name="Pereira, Rafael" userId="8e7a62db-6d3f-426c-a526-73ab2eb50c10" providerId="ADAL" clId="{77ECF7C0-3571-42B3-AEF5-94324BE9F028}" dt="2023-12-26T20:00:43.944" v="3475" actId="14100"/>
          <ac:picMkLst>
            <pc:docMk/>
            <pc:sldMk cId="1530805742" sldId="521"/>
            <ac:picMk id="13" creationId="{5FD623FF-98C4-623A-3582-33C3DC5C17F0}"/>
          </ac:picMkLst>
        </pc:picChg>
        <pc:cxnChg chg="add mod">
          <ac:chgData name="Pereira, Rafael" userId="8e7a62db-6d3f-426c-a526-73ab2eb50c10" providerId="ADAL" clId="{77ECF7C0-3571-42B3-AEF5-94324BE9F028}" dt="2023-12-26T20:00:03.696" v="3470" actId="1038"/>
          <ac:cxnSpMkLst>
            <pc:docMk/>
            <pc:sldMk cId="1530805742" sldId="521"/>
            <ac:cxnSpMk id="7" creationId="{021DD92E-BE52-9135-ECC9-2A2696CA1F22}"/>
          </ac:cxnSpMkLst>
        </pc:cxnChg>
      </pc:sldChg>
      <pc:sldChg chg="addSp delSp modSp add mod">
        <pc:chgData name="Pereira, Rafael" userId="8e7a62db-6d3f-426c-a526-73ab2eb50c10" providerId="ADAL" clId="{77ECF7C0-3571-42B3-AEF5-94324BE9F028}" dt="2023-12-27T12:12:01.966" v="4484" actId="20577"/>
        <pc:sldMkLst>
          <pc:docMk/>
          <pc:sldMk cId="206948670" sldId="522"/>
        </pc:sldMkLst>
        <pc:spChg chg="mod">
          <ac:chgData name="Pereira, Rafael" userId="8e7a62db-6d3f-426c-a526-73ab2eb50c10" providerId="ADAL" clId="{77ECF7C0-3571-42B3-AEF5-94324BE9F028}" dt="2023-12-27T12:12:01.966" v="4484" actId="20577"/>
          <ac:spMkLst>
            <pc:docMk/>
            <pc:sldMk cId="206948670" sldId="522"/>
            <ac:spMk id="9" creationId="{693C8A57-418B-7CCA-C245-C32C3947EA4E}"/>
          </ac:spMkLst>
        </pc:spChg>
        <pc:spChg chg="add mod">
          <ac:chgData name="Pereira, Rafael" userId="8e7a62db-6d3f-426c-a526-73ab2eb50c10" providerId="ADAL" clId="{77ECF7C0-3571-42B3-AEF5-94324BE9F028}" dt="2023-12-26T20:06:47.839" v="3519" actId="14100"/>
          <ac:spMkLst>
            <pc:docMk/>
            <pc:sldMk cId="206948670" sldId="522"/>
            <ac:spMk id="13" creationId="{6ED56BBB-AC7B-72C7-EC13-6A7A870C77D2}"/>
          </ac:spMkLst>
        </pc:spChg>
        <pc:spChg chg="add del mod">
          <ac:chgData name="Pereira, Rafael" userId="8e7a62db-6d3f-426c-a526-73ab2eb50c10" providerId="ADAL" clId="{77ECF7C0-3571-42B3-AEF5-94324BE9F028}" dt="2023-12-27T11:38:08.345" v="4052" actId="21"/>
          <ac:spMkLst>
            <pc:docMk/>
            <pc:sldMk cId="206948670" sldId="522"/>
            <ac:spMk id="14" creationId="{302E3890-F090-6E29-C2A8-F69010FE63E6}"/>
          </ac:spMkLst>
        </pc:spChg>
        <pc:picChg chg="add del mod modCrop">
          <ac:chgData name="Pereira, Rafael" userId="8e7a62db-6d3f-426c-a526-73ab2eb50c10" providerId="ADAL" clId="{77ECF7C0-3571-42B3-AEF5-94324BE9F028}" dt="2023-12-26T20:04:38.428" v="3489" actId="478"/>
          <ac:picMkLst>
            <pc:docMk/>
            <pc:sldMk cId="206948670" sldId="522"/>
            <ac:picMk id="7" creationId="{D47BA919-C0D9-B142-A71A-8968BE62B1D5}"/>
          </ac:picMkLst>
        </pc:picChg>
        <pc:picChg chg="add mod modCrop">
          <ac:chgData name="Pereira, Rafael" userId="8e7a62db-6d3f-426c-a526-73ab2eb50c10" providerId="ADAL" clId="{77ECF7C0-3571-42B3-AEF5-94324BE9F028}" dt="2023-12-26T20:05:13.580" v="3494" actId="1076"/>
          <ac:picMkLst>
            <pc:docMk/>
            <pc:sldMk cId="206948670" sldId="522"/>
            <ac:picMk id="10" creationId="{6972EA12-50C6-145C-7BA5-ECB4608A08C8}"/>
          </ac:picMkLst>
        </pc:picChg>
        <pc:picChg chg="add mod">
          <ac:chgData name="Pereira, Rafael" userId="8e7a62db-6d3f-426c-a526-73ab2eb50c10" providerId="ADAL" clId="{77ECF7C0-3571-42B3-AEF5-94324BE9F028}" dt="2023-12-26T20:05:09.699" v="3493" actId="14100"/>
          <ac:picMkLst>
            <pc:docMk/>
            <pc:sldMk cId="206948670" sldId="522"/>
            <ac:picMk id="12" creationId="{B8E765B1-05DF-2B52-B3E5-082FD860597F}"/>
          </ac:picMkLst>
        </pc:picChg>
      </pc:sldChg>
      <pc:sldChg chg="addSp delSp modSp add mod">
        <pc:chgData name="Pereira, Rafael" userId="8e7a62db-6d3f-426c-a526-73ab2eb50c10" providerId="ADAL" clId="{77ECF7C0-3571-42B3-AEF5-94324BE9F028}" dt="2023-12-28T14:08:49.922" v="4512" actId="20577"/>
        <pc:sldMkLst>
          <pc:docMk/>
          <pc:sldMk cId="865777779" sldId="523"/>
        </pc:sldMkLst>
        <pc:spChg chg="mod">
          <ac:chgData name="Pereira, Rafael" userId="8e7a62db-6d3f-426c-a526-73ab2eb50c10" providerId="ADAL" clId="{77ECF7C0-3571-42B3-AEF5-94324BE9F028}" dt="2023-12-28T14:08:49.922" v="4512" actId="20577"/>
          <ac:spMkLst>
            <pc:docMk/>
            <pc:sldMk cId="865777779" sldId="523"/>
            <ac:spMk id="9" creationId="{693C8A57-418B-7CCA-C245-C32C3947EA4E}"/>
          </ac:spMkLst>
        </pc:spChg>
        <pc:spChg chg="del">
          <ac:chgData name="Pereira, Rafael" userId="8e7a62db-6d3f-426c-a526-73ab2eb50c10" providerId="ADAL" clId="{77ECF7C0-3571-42B3-AEF5-94324BE9F028}" dt="2023-12-26T20:24:27.918" v="3569" actId="478"/>
          <ac:spMkLst>
            <pc:docMk/>
            <pc:sldMk cId="865777779" sldId="523"/>
            <ac:spMk id="13" creationId="{6ED56BBB-AC7B-72C7-EC13-6A7A870C77D2}"/>
          </ac:spMkLst>
        </pc:spChg>
        <pc:spChg chg="del">
          <ac:chgData name="Pereira, Rafael" userId="8e7a62db-6d3f-426c-a526-73ab2eb50c10" providerId="ADAL" clId="{77ECF7C0-3571-42B3-AEF5-94324BE9F028}" dt="2023-12-26T20:24:30.519" v="3571" actId="478"/>
          <ac:spMkLst>
            <pc:docMk/>
            <pc:sldMk cId="865777779" sldId="523"/>
            <ac:spMk id="14" creationId="{302E3890-F090-6E29-C2A8-F69010FE63E6}"/>
          </ac:spMkLst>
        </pc:spChg>
        <pc:picChg chg="add mod modCrop">
          <ac:chgData name="Pereira, Rafael" userId="8e7a62db-6d3f-426c-a526-73ab2eb50c10" providerId="ADAL" clId="{77ECF7C0-3571-42B3-AEF5-94324BE9F028}" dt="2023-12-26T20:30:04.094" v="3576" actId="14100"/>
          <ac:picMkLst>
            <pc:docMk/>
            <pc:sldMk cId="865777779" sldId="523"/>
            <ac:picMk id="7" creationId="{61A1EE63-D3B9-41D0-3F08-7806857F5575}"/>
          </ac:picMkLst>
        </pc:picChg>
        <pc:picChg chg="del">
          <ac:chgData name="Pereira, Rafael" userId="8e7a62db-6d3f-426c-a526-73ab2eb50c10" providerId="ADAL" clId="{77ECF7C0-3571-42B3-AEF5-94324BE9F028}" dt="2023-12-26T20:24:26.816" v="3568" actId="478"/>
          <ac:picMkLst>
            <pc:docMk/>
            <pc:sldMk cId="865777779" sldId="523"/>
            <ac:picMk id="10" creationId="{6972EA12-50C6-145C-7BA5-ECB4608A08C8}"/>
          </ac:picMkLst>
        </pc:picChg>
        <pc:picChg chg="del">
          <ac:chgData name="Pereira, Rafael" userId="8e7a62db-6d3f-426c-a526-73ab2eb50c10" providerId="ADAL" clId="{77ECF7C0-3571-42B3-AEF5-94324BE9F028}" dt="2023-12-26T20:24:28.515" v="3570" actId="478"/>
          <ac:picMkLst>
            <pc:docMk/>
            <pc:sldMk cId="865777779" sldId="523"/>
            <ac:picMk id="12" creationId="{B8E765B1-05DF-2B52-B3E5-082FD860597F}"/>
          </ac:picMkLst>
        </pc:picChg>
        <pc:picChg chg="add del mod">
          <ac:chgData name="Pereira, Rafael" userId="8e7a62db-6d3f-426c-a526-73ab2eb50c10" providerId="ADAL" clId="{77ECF7C0-3571-42B3-AEF5-94324BE9F028}" dt="2023-12-26T20:33:43.902" v="3806" actId="478"/>
          <ac:picMkLst>
            <pc:docMk/>
            <pc:sldMk cId="865777779" sldId="523"/>
            <ac:picMk id="15" creationId="{522ED423-3D55-70BE-E305-4CEEC20351A1}"/>
          </ac:picMkLst>
        </pc:picChg>
        <pc:picChg chg="add mod ord">
          <ac:chgData name="Pereira, Rafael" userId="8e7a62db-6d3f-426c-a526-73ab2eb50c10" providerId="ADAL" clId="{77ECF7C0-3571-42B3-AEF5-94324BE9F028}" dt="2023-12-26T20:34:06.632" v="3811" actId="1076"/>
          <ac:picMkLst>
            <pc:docMk/>
            <pc:sldMk cId="865777779" sldId="523"/>
            <ac:picMk id="17" creationId="{7ADAD975-5C56-7CDF-E53C-35C6CD5D7E3B}"/>
          </ac:picMkLst>
        </pc:picChg>
        <pc:picChg chg="add mod">
          <ac:chgData name="Pereira, Rafael" userId="8e7a62db-6d3f-426c-a526-73ab2eb50c10" providerId="ADAL" clId="{77ECF7C0-3571-42B3-AEF5-94324BE9F028}" dt="2023-12-26T20:34:02.511" v="3809" actId="1076"/>
          <ac:picMkLst>
            <pc:docMk/>
            <pc:sldMk cId="865777779" sldId="523"/>
            <ac:picMk id="19" creationId="{FE91DC69-6E53-CAAF-9772-7BDA50C2E442}"/>
          </ac:picMkLst>
        </pc:picChg>
        <pc:picChg chg="add mod modCrop">
          <ac:chgData name="Pereira, Rafael" userId="8e7a62db-6d3f-426c-a526-73ab2eb50c10" providerId="ADAL" clId="{77ECF7C0-3571-42B3-AEF5-94324BE9F028}" dt="2023-12-26T20:34:32.322" v="3817" actId="1076"/>
          <ac:picMkLst>
            <pc:docMk/>
            <pc:sldMk cId="865777779" sldId="523"/>
            <ac:picMk id="21" creationId="{AD8D018B-9999-390B-4A49-0239D7546D37}"/>
          </ac:picMkLst>
        </pc:picChg>
        <pc:cxnChg chg="add mod">
          <ac:chgData name="Pereira, Rafael" userId="8e7a62db-6d3f-426c-a526-73ab2eb50c10" providerId="ADAL" clId="{77ECF7C0-3571-42B3-AEF5-94324BE9F028}" dt="2023-12-26T20:30:31.699" v="3583" actId="692"/>
          <ac:cxnSpMkLst>
            <pc:docMk/>
            <pc:sldMk cId="865777779" sldId="523"/>
            <ac:cxnSpMk id="8" creationId="{6B16F9F1-E7BB-FD8A-EC72-B9D37E14A2F8}"/>
          </ac:cxnSpMkLst>
        </pc:cxnChg>
      </pc:sldChg>
      <pc:sldChg chg="del">
        <pc:chgData name="Pereira, Rafael" userId="8e7a62db-6d3f-426c-a526-73ab2eb50c10" providerId="ADAL" clId="{77ECF7C0-3571-42B3-AEF5-94324BE9F028}" dt="2023-12-26T17:54:01.203" v="400" actId="47"/>
        <pc:sldMkLst>
          <pc:docMk/>
          <pc:sldMk cId="1482497405" sldId="11235"/>
        </pc:sldMkLst>
      </pc:sldChg>
      <pc:sldChg chg="del">
        <pc:chgData name="Pereira, Rafael" userId="8e7a62db-6d3f-426c-a526-73ab2eb50c10" providerId="ADAL" clId="{77ECF7C0-3571-42B3-AEF5-94324BE9F028}" dt="2023-12-26T17:53:29.420" v="382" actId="47"/>
        <pc:sldMkLst>
          <pc:docMk/>
          <pc:sldMk cId="2031065983" sldId="11266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2814744518" sldId="11269"/>
        </pc:sldMkLst>
      </pc:sldChg>
      <pc:sldChg chg="del">
        <pc:chgData name="Pereira, Rafael" userId="8e7a62db-6d3f-426c-a526-73ab2eb50c10" providerId="ADAL" clId="{77ECF7C0-3571-42B3-AEF5-94324BE9F028}" dt="2023-12-26T17:54:01.203" v="400" actId="47"/>
        <pc:sldMkLst>
          <pc:docMk/>
          <pc:sldMk cId="2698718973" sldId="2145705693"/>
        </pc:sldMkLst>
      </pc:sldChg>
      <pc:sldChg chg="del">
        <pc:chgData name="Pereira, Rafael" userId="8e7a62db-6d3f-426c-a526-73ab2eb50c10" providerId="ADAL" clId="{77ECF7C0-3571-42B3-AEF5-94324BE9F028}" dt="2023-12-26T17:54:01.203" v="400" actId="47"/>
        <pc:sldMkLst>
          <pc:docMk/>
          <pc:sldMk cId="3194233144" sldId="2145705694"/>
        </pc:sldMkLst>
      </pc:sldChg>
      <pc:sldChg chg="del">
        <pc:chgData name="Pereira, Rafael" userId="8e7a62db-6d3f-426c-a526-73ab2eb50c10" providerId="ADAL" clId="{77ECF7C0-3571-42B3-AEF5-94324BE9F028}" dt="2023-12-26T17:54:01.203" v="400" actId="47"/>
        <pc:sldMkLst>
          <pc:docMk/>
          <pc:sldMk cId="603185870" sldId="2145705695"/>
        </pc:sldMkLst>
      </pc:sldChg>
      <pc:sldChg chg="delSp 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4266921869" sldId="2145705696"/>
        </pc:sldMkLst>
        <pc:spChg chg="del">
          <ac:chgData name="Pereira, Rafael" userId="8e7a62db-6d3f-426c-a526-73ab2eb50c10" providerId="ADAL" clId="{77ECF7C0-3571-42B3-AEF5-94324BE9F028}" dt="2023-12-26T17:53:33.292" v="383" actId="478"/>
          <ac:spMkLst>
            <pc:docMk/>
            <pc:sldMk cId="4266921869" sldId="2145705696"/>
            <ac:spMk id="2" creationId="{28B06B7C-28AD-2997-8DB1-3DC2EA668B35}"/>
          </ac:spMkLst>
        </pc:spChg>
        <pc:spChg chg="del">
          <ac:chgData name="Pereira, Rafael" userId="8e7a62db-6d3f-426c-a526-73ab2eb50c10" providerId="ADAL" clId="{77ECF7C0-3571-42B3-AEF5-94324BE9F028}" dt="2023-12-26T17:53:33.292" v="383" actId="478"/>
          <ac:spMkLst>
            <pc:docMk/>
            <pc:sldMk cId="4266921869" sldId="2145705696"/>
            <ac:spMk id="8" creationId="{E142627F-05A1-C4D7-FDC7-BBC52EA9A460}"/>
          </ac:spMkLst>
        </pc:spChg>
        <pc:spChg chg="del">
          <ac:chgData name="Pereira, Rafael" userId="8e7a62db-6d3f-426c-a526-73ab2eb50c10" providerId="ADAL" clId="{77ECF7C0-3571-42B3-AEF5-94324BE9F028}" dt="2023-12-26T17:53:33.292" v="383" actId="478"/>
          <ac:spMkLst>
            <pc:docMk/>
            <pc:sldMk cId="4266921869" sldId="2145705696"/>
            <ac:spMk id="13" creationId="{4A2FC311-383D-5BAD-A7A8-346355AA7779}"/>
          </ac:spMkLst>
        </pc:spChg>
        <pc:spChg chg="del">
          <ac:chgData name="Pereira, Rafael" userId="8e7a62db-6d3f-426c-a526-73ab2eb50c10" providerId="ADAL" clId="{77ECF7C0-3571-42B3-AEF5-94324BE9F028}" dt="2023-12-26T17:53:33.292" v="383" actId="478"/>
          <ac:spMkLst>
            <pc:docMk/>
            <pc:sldMk cId="4266921869" sldId="2145705696"/>
            <ac:spMk id="14" creationId="{187BCFFC-66A3-BB8A-FE19-8BFAB2CA32A3}"/>
          </ac:spMkLst>
        </pc:spChg>
        <pc:spChg chg="del">
          <ac:chgData name="Pereira, Rafael" userId="8e7a62db-6d3f-426c-a526-73ab2eb50c10" providerId="ADAL" clId="{77ECF7C0-3571-42B3-AEF5-94324BE9F028}" dt="2023-12-26T17:53:33.292" v="383" actId="478"/>
          <ac:spMkLst>
            <pc:docMk/>
            <pc:sldMk cId="4266921869" sldId="2145705696"/>
            <ac:spMk id="15" creationId="{86808F76-C987-8264-0551-35B2D9ABB26F}"/>
          </ac:spMkLst>
        </pc:spChg>
        <pc:picChg chg="del">
          <ac:chgData name="Pereira, Rafael" userId="8e7a62db-6d3f-426c-a526-73ab2eb50c10" providerId="ADAL" clId="{77ECF7C0-3571-42B3-AEF5-94324BE9F028}" dt="2023-12-26T17:53:33.292" v="383" actId="478"/>
          <ac:picMkLst>
            <pc:docMk/>
            <pc:sldMk cId="4266921869" sldId="2145705696"/>
            <ac:picMk id="7" creationId="{02B001A1-D2B2-C0B7-5906-5AB9AC2FC94F}"/>
          </ac:picMkLst>
        </pc:picChg>
        <pc:picChg chg="del">
          <ac:chgData name="Pereira, Rafael" userId="8e7a62db-6d3f-426c-a526-73ab2eb50c10" providerId="ADAL" clId="{77ECF7C0-3571-42B3-AEF5-94324BE9F028}" dt="2023-12-26T17:53:33.292" v="383" actId="478"/>
          <ac:picMkLst>
            <pc:docMk/>
            <pc:sldMk cId="4266921869" sldId="2145705696"/>
            <ac:picMk id="12" creationId="{878A3460-228D-0733-7352-FC3F7588C031}"/>
          </ac:picMkLst>
        </pc:picChg>
        <pc:picChg chg="del">
          <ac:chgData name="Pereira, Rafael" userId="8e7a62db-6d3f-426c-a526-73ab2eb50c10" providerId="ADAL" clId="{77ECF7C0-3571-42B3-AEF5-94324BE9F028}" dt="2023-12-26T17:53:33.292" v="383" actId="478"/>
          <ac:picMkLst>
            <pc:docMk/>
            <pc:sldMk cId="4266921869" sldId="2145705696"/>
            <ac:picMk id="1026" creationId="{20D65DD3-F2BC-9889-E0C7-746485EA249C}"/>
          </ac:picMkLst>
        </pc:picChg>
        <pc:picChg chg="del">
          <ac:chgData name="Pereira, Rafael" userId="8e7a62db-6d3f-426c-a526-73ab2eb50c10" providerId="ADAL" clId="{77ECF7C0-3571-42B3-AEF5-94324BE9F028}" dt="2023-12-26T17:53:33.292" v="383" actId="478"/>
          <ac:picMkLst>
            <pc:docMk/>
            <pc:sldMk cId="4266921869" sldId="2145705696"/>
            <ac:picMk id="1028" creationId="{1DFFB49A-53C8-EEB8-71D6-9F12A9EDA3E8}"/>
          </ac:picMkLst>
        </pc:picChg>
        <pc:picChg chg="del">
          <ac:chgData name="Pereira, Rafael" userId="8e7a62db-6d3f-426c-a526-73ab2eb50c10" providerId="ADAL" clId="{77ECF7C0-3571-42B3-AEF5-94324BE9F028}" dt="2023-12-26T17:53:33.292" v="383" actId="478"/>
          <ac:picMkLst>
            <pc:docMk/>
            <pc:sldMk cId="4266921869" sldId="2145705696"/>
            <ac:picMk id="1036" creationId="{4F4336F5-077D-6A2B-0FBC-D35D9E81B9A4}"/>
          </ac:picMkLst>
        </pc:picChg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131600195" sldId="2145705697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1440612204" sldId="2145705698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2966746175" sldId="2145705699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1548949913" sldId="2145705700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4189468323" sldId="2145705701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3422804935" sldId="2145705703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2256529604" sldId="2145705704"/>
        </pc:sldMkLst>
      </pc:sldChg>
      <pc:sldChg chg="del">
        <pc:chgData name="Pereira, Rafael" userId="8e7a62db-6d3f-426c-a526-73ab2eb50c10" providerId="ADAL" clId="{77ECF7C0-3571-42B3-AEF5-94324BE9F028}" dt="2023-12-26T17:54:01.203" v="400" actId="47"/>
        <pc:sldMkLst>
          <pc:docMk/>
          <pc:sldMk cId="3439693687" sldId="2145705705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1948588899" sldId="2145705706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1035499915" sldId="2145705707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4001779513" sldId="2145705708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3488757709" sldId="2145705709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3552421645" sldId="2145705710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1705240988" sldId="2145705711"/>
        </pc:sldMkLst>
      </pc:sldChg>
      <pc:sldChg chg="add del">
        <pc:chgData name="Pereira, Rafael" userId="8e7a62db-6d3f-426c-a526-73ab2eb50c10" providerId="ADAL" clId="{77ECF7C0-3571-42B3-AEF5-94324BE9F028}" dt="2023-12-26T17:53:58.088" v="399" actId="47"/>
        <pc:sldMkLst>
          <pc:docMk/>
          <pc:sldMk cId="1876638948" sldId="2145705712"/>
        </pc:sldMkLst>
      </pc:sldChg>
      <pc:sldMasterChg chg="delSldLayout">
        <pc:chgData name="Pereira, Rafael" userId="8e7a62db-6d3f-426c-a526-73ab2eb50c10" providerId="ADAL" clId="{77ECF7C0-3571-42B3-AEF5-94324BE9F028}" dt="2023-12-26T17:54:01.203" v="400" actId="47"/>
        <pc:sldMasterMkLst>
          <pc:docMk/>
          <pc:sldMasterMk cId="839108957" sldId="2147483648"/>
        </pc:sldMasterMkLst>
        <pc:sldLayoutChg chg="del">
          <pc:chgData name="Pereira, Rafael" userId="8e7a62db-6d3f-426c-a526-73ab2eb50c10" providerId="ADAL" clId="{77ECF7C0-3571-42B3-AEF5-94324BE9F028}" dt="2023-12-26T17:54:01.203" v="400" actId="47"/>
          <pc:sldLayoutMkLst>
            <pc:docMk/>
            <pc:sldMasterMk cId="839108957" sldId="2147483648"/>
            <pc:sldLayoutMk cId="3879155688" sldId="214748366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0A283-426D-4AA1-8CEF-EE6E769BF3BE}" type="datetimeFigureOut">
              <a:rPr lang="de-DE" smtClean="0"/>
              <a:pPr/>
              <a:t>28.1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C8BD19-6678-4367-B9A6-1676CE4EC0B7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330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C8BD19-6678-4367-B9A6-1676CE4EC0B7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67223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63706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35863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3354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67117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4102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159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14624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653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5079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50138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625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 cstate="screen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chemeClr val="tx1"/>
                </a:solidFill>
              </a:rPr>
              <a:t>Wen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neues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fügen</a:t>
            </a:r>
            <a:r>
              <a:rPr lang="en-US" sz="900" noProof="0" dirty="0">
                <a:solidFill>
                  <a:schemeClr val="tx1"/>
                </a:solidFill>
              </a:rPr>
              <a:t>: </a:t>
            </a:r>
            <a:r>
              <a:rPr lang="en-US" sz="900" noProof="0" dirty="0" err="1">
                <a:solidFill>
                  <a:schemeClr val="tx1"/>
                </a:solidFill>
              </a:rPr>
              <a:t>Klick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it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der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recht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austaste</a:t>
            </a:r>
            <a:r>
              <a:rPr lang="en-US" sz="900" noProof="0" dirty="0">
                <a:solidFill>
                  <a:schemeClr val="tx1"/>
                </a:solidFill>
              </a:rPr>
              <a:t> auf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und </a:t>
            </a:r>
            <a:r>
              <a:rPr lang="en-US" sz="900" noProof="0" dirty="0" err="1">
                <a:solidFill>
                  <a:schemeClr val="tx1"/>
                </a:solidFill>
              </a:rPr>
              <a:t>wählen</a:t>
            </a:r>
            <a:r>
              <a:rPr lang="en-US" sz="900" noProof="0" dirty="0">
                <a:solidFill>
                  <a:schemeClr val="tx1"/>
                </a:solidFill>
              </a:rPr>
              <a:t> „In den </a:t>
            </a:r>
            <a:r>
              <a:rPr lang="en-US" sz="900" noProof="0" dirty="0" err="1">
                <a:solidFill>
                  <a:schemeClr val="tx1"/>
                </a:solidFill>
              </a:rPr>
              <a:t>Hintergrund</a:t>
            </a:r>
            <a:r>
              <a:rPr lang="en-US" sz="900" noProof="0" dirty="0">
                <a:solidFill>
                  <a:schemeClr val="tx1"/>
                </a:solidFill>
              </a:rPr>
              <a:t>“, um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hinter das Quality Seal </a:t>
            </a:r>
            <a:r>
              <a:rPr lang="en-US" sz="900" noProof="0" dirty="0" err="1">
                <a:solidFill>
                  <a:schemeClr val="tx1"/>
                </a:solidFill>
              </a:rPr>
              <a:t>zu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ringen</a:t>
            </a:r>
            <a:r>
              <a:rPr lang="en-US" sz="9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25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91CB1-6859-49A2-8895-99A5CC22C4FF}" type="datetimeFigureOut">
              <a:rPr lang="de-DE" smtClean="0"/>
              <a:t>28.12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C56C5-BB56-4CF4-9077-9D9E40087BE8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1427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113760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 cstate="screen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2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3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1" name="Bild 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2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3132;MIO_UPDATE=True;MIO_VERSION=05.07.2013 10:24:09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Intern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3706BC3A-4C6B-C947-1A5E-4AAAD53DA54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401312" y="50215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www.conti.com.br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CGI_Coast_Truck_Application_A4_03.jpg">
            <a:extLst>
              <a:ext uri="{FF2B5EF4-FFF2-40B4-BE49-F238E27FC236}">
                <a16:creationId xmlns:a16="http://schemas.microsoft.com/office/drawing/2014/main" id="{DE076CA0-E57C-04EB-335B-2651DBC110C4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6312" y="195263"/>
            <a:ext cx="8770919" cy="273652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T2 – PPMo Tracking Fun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hlinkClick r:id="rId4"/>
              </a:rPr>
              <a:t>www.conti.com.br</a:t>
            </a:r>
            <a:r>
              <a:rPr lang="en-US" dirty="0"/>
              <a:t>	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91253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93C8A57-418B-7CCA-C245-C32C3947E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4008" y="1023938"/>
            <a:ext cx="4104706" cy="3383755"/>
          </a:xfrm>
        </p:spPr>
        <p:txBody>
          <a:bodyPr>
            <a:normAutofit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b="1" dirty="0"/>
              <a:t>How to set it up in Pocket Survey (mobile app)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A password will be requested, please, use: “</a:t>
            </a:r>
            <a:r>
              <a:rPr lang="en-US" sz="1400" b="1" dirty="0" err="1"/>
              <a:t>pssupport</a:t>
            </a:r>
            <a:r>
              <a:rPr lang="en-US" sz="1400" dirty="0"/>
              <a:t>”</a:t>
            </a:r>
            <a:endParaRPr lang="de-DE" sz="1400" dirty="0"/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Enable </a:t>
            </a:r>
            <a:r>
              <a:rPr lang="en-US" sz="1400" dirty="0"/>
              <a:t>“Tracking Inspection”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After activating it a new checkbox should be available on the “Complete Inspection” screen on Pocket Suite App.</a:t>
            </a:r>
            <a:endParaRPr lang="de-DE" sz="1400" dirty="0"/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6972EA12-50C6-145C-7BA5-ECB4608A08C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70"/>
          <a:stretch/>
        </p:blipFill>
        <p:spPr>
          <a:xfrm>
            <a:off x="2339752" y="1135640"/>
            <a:ext cx="1728192" cy="3046388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B8E765B1-05DF-2B52-B3E5-082FD86059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542" y="1135640"/>
            <a:ext cx="1719564" cy="304638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6ED56BBB-AC7B-72C7-EC13-6A7A870C77D2}"/>
              </a:ext>
            </a:extLst>
          </p:cNvPr>
          <p:cNvSpPr/>
          <p:nvPr/>
        </p:nvSpPr>
        <p:spPr>
          <a:xfrm>
            <a:off x="2250107" y="3910505"/>
            <a:ext cx="1817838" cy="383225"/>
          </a:xfrm>
          <a:prstGeom prst="rect">
            <a:avLst/>
          </a:prstGeom>
          <a:noFill/>
          <a:ln w="476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302E3890-F090-6E29-C2A8-F69010FE63E6}"/>
              </a:ext>
            </a:extLst>
          </p:cNvPr>
          <p:cNvSpPr txBox="1"/>
          <p:nvPr/>
        </p:nvSpPr>
        <p:spPr>
          <a:xfrm>
            <a:off x="683568" y="2427734"/>
            <a:ext cx="144016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Password:</a:t>
            </a:r>
          </a:p>
          <a:p>
            <a:pPr algn="ctr"/>
            <a:r>
              <a:rPr lang="en-US" sz="1400" b="1" dirty="0" err="1"/>
              <a:t>pssuppor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694867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93C8A57-418B-7CCA-C245-C32C3947E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4008" y="1023938"/>
            <a:ext cx="4104706" cy="3383755"/>
          </a:xfrm>
        </p:spPr>
        <p:txBody>
          <a:bodyPr>
            <a:normAutofit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b="1" dirty="0"/>
              <a:t>How to perform an inspection with the active function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b="1" dirty="0"/>
              <a:t>Always </a:t>
            </a:r>
            <a:r>
              <a:rPr lang="en-US" sz="1400" dirty="0"/>
              <a:t>Make sure that the checkbox </a:t>
            </a:r>
            <a:r>
              <a:rPr lang="en-US" sz="1400" b="1" dirty="0"/>
              <a:t>“Tracking Inspection”</a:t>
            </a:r>
            <a:r>
              <a:rPr lang="en-US" sz="1400" dirty="0"/>
              <a:t> is selected before start the tire inspection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Collect all mandatory information such as: Odometer, DOT, Tire Size and Pattern, Inflation pressure, Tire condition, Tread depths.</a:t>
            </a:r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61A1EE63-D3B9-41D0-3F08-7806857F55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4466"/>
          <a:stretch/>
        </p:blipFill>
        <p:spPr>
          <a:xfrm>
            <a:off x="395286" y="1057888"/>
            <a:ext cx="2260726" cy="3026029"/>
          </a:xfrm>
          <a:prstGeom prst="rect">
            <a:avLst/>
          </a:prstGeom>
        </p:spPr>
      </p:pic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6B16F9F1-E7BB-FD8A-EC72-B9D37E14A2F8}"/>
              </a:ext>
            </a:extLst>
          </p:cNvPr>
          <p:cNvCxnSpPr>
            <a:cxnSpLocks/>
          </p:cNvCxnSpPr>
          <p:nvPr/>
        </p:nvCxnSpPr>
        <p:spPr>
          <a:xfrm flipH="1">
            <a:off x="1619672" y="3131188"/>
            <a:ext cx="648072" cy="0"/>
          </a:xfrm>
          <a:prstGeom prst="straightConnector1">
            <a:avLst/>
          </a:prstGeom>
          <a:ln w="539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agem 18">
            <a:extLst>
              <a:ext uri="{FF2B5EF4-FFF2-40B4-BE49-F238E27FC236}">
                <a16:creationId xmlns:a16="http://schemas.microsoft.com/office/drawing/2014/main" id="{FE91DC69-6E53-CAAF-9772-7BDA50C2E4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9991" y="1045676"/>
            <a:ext cx="1177701" cy="1818759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7ADAD975-5C56-7CDF-E53C-35C6CD5D7E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62481" y="1949539"/>
            <a:ext cx="1274148" cy="1678146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id="{AD8D018B-9999-390B-4A49-0239D7546D3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4962"/>
          <a:stretch/>
        </p:blipFill>
        <p:spPr>
          <a:xfrm>
            <a:off x="3599555" y="2633583"/>
            <a:ext cx="1274148" cy="159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77777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 your attention!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F701C-372F-4C4A-8037-9EE90099ED8D}" type="datetime3">
              <a:rPr lang="en-US" noProof="0" smtClean="0"/>
              <a:pPr/>
              <a:t>28 December 2023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93C8A57-418B-7CCA-C245-C32C3947E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>
            <a:normAutofit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What is the Tracking Function</a:t>
            </a:r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How to access and configurate it in CT2 website</a:t>
            </a:r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How to download the PPMo Tracking report (RPT042)</a:t>
            </a:r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How to set up </a:t>
            </a:r>
            <a:r>
              <a:rPr lang="en-US" sz="1400" dirty="0"/>
              <a:t>the “Tracking Inspection”</a:t>
            </a:r>
            <a:r>
              <a:rPr lang="de-DE" sz="1400" dirty="0"/>
              <a:t> in Pocket Survey (mobile app)</a:t>
            </a:r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How to perform an </a:t>
            </a:r>
            <a:r>
              <a:rPr lang="en-US" sz="1400" dirty="0"/>
              <a:t>inspection with the “Tracking Inspection” function active</a:t>
            </a:r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7725566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93C8A57-418B-7CCA-C245-C32C3947E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4008" y="1023938"/>
            <a:ext cx="4104706" cy="3383755"/>
          </a:xfrm>
        </p:spPr>
        <p:txBody>
          <a:bodyPr>
            <a:normAutofit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b="1" dirty="0"/>
              <a:t>What is the Tracking Function?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It is a function inside CT2 which allows a creation of predefined lists of products and fleets to be inspected in a structured way for future performance evaluation (report)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Once the fleets/produtcs listed are inspected, the system uses some pre-defined criterias/rules to link inspections and bring back to a report the relevant data for performance analysis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PPMo tracking is located inside the </a:t>
            </a:r>
            <a:r>
              <a:rPr lang="en-US" sz="1400" dirty="0"/>
              <a:t>“Custom Routines” in CT2 web platform.</a:t>
            </a:r>
            <a:endParaRPr lang="de-DE" sz="1400" dirty="0"/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2542B16-93B6-3A66-5A85-8463938641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89" y="1023938"/>
            <a:ext cx="4176712" cy="3276004"/>
          </a:xfrm>
          <a:prstGeom prst="rect">
            <a:avLst/>
          </a:prstGeom>
        </p:spPr>
      </p:pic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80262E9-C735-A131-EE15-360EBEFD6D1D}"/>
              </a:ext>
            </a:extLst>
          </p:cNvPr>
          <p:cNvCxnSpPr/>
          <p:nvPr/>
        </p:nvCxnSpPr>
        <p:spPr>
          <a:xfrm flipH="1">
            <a:off x="1619672" y="4011910"/>
            <a:ext cx="576064" cy="0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21DC22C1-CEC2-D296-78FE-D5418E285A77}"/>
              </a:ext>
            </a:extLst>
          </p:cNvPr>
          <p:cNvCxnSpPr/>
          <p:nvPr/>
        </p:nvCxnSpPr>
        <p:spPr>
          <a:xfrm flipH="1">
            <a:off x="1622481" y="4227934"/>
            <a:ext cx="576064" cy="0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C31FD02-A1A2-6BEF-11BE-70204156FEE7}"/>
              </a:ext>
            </a:extLst>
          </p:cNvPr>
          <p:cNvSpPr txBox="1"/>
          <p:nvPr/>
        </p:nvSpPr>
        <p:spPr>
          <a:xfrm>
            <a:off x="1907704" y="3907392"/>
            <a:ext cx="17999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ustom Routine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0964030F-42D4-DC2F-B665-54026B9BCD3A}"/>
              </a:ext>
            </a:extLst>
          </p:cNvPr>
          <p:cNvSpPr txBox="1"/>
          <p:nvPr/>
        </p:nvSpPr>
        <p:spPr>
          <a:xfrm>
            <a:off x="1907703" y="4093566"/>
            <a:ext cx="17999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PPMo Tracking</a:t>
            </a:r>
          </a:p>
        </p:txBody>
      </p:sp>
    </p:spTree>
    <p:extLst>
      <p:ext uri="{BB962C8B-B14F-4D97-AF65-F5344CB8AC3E}">
        <p14:creationId xmlns:p14="http://schemas.microsoft.com/office/powerpoint/2010/main" val="267683330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7E8C1784-BDB6-D36E-5635-DFCE7A08EE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663"/>
          <a:stretch/>
        </p:blipFill>
        <p:spPr>
          <a:xfrm>
            <a:off x="251521" y="1051944"/>
            <a:ext cx="4358736" cy="307352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93C8A57-418B-7CCA-C245-C32C3947E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4008" y="1023938"/>
            <a:ext cx="4104706" cy="3383755"/>
          </a:xfrm>
        </p:spPr>
        <p:txBody>
          <a:bodyPr>
            <a:normAutofit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b="1" dirty="0"/>
              <a:t>How to access and configurate it in CT2 website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After selecting </a:t>
            </a:r>
            <a:r>
              <a:rPr lang="en-US" sz="1400" dirty="0"/>
              <a:t>“PPMo Tracking” -&gt; “Custom Routines” in CT2 web platform y</a:t>
            </a:r>
            <a:r>
              <a:rPr lang="de-DE" sz="1400" dirty="0"/>
              <a:t>ou are able to create a new list or update existing lists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By selecting </a:t>
            </a:r>
            <a:r>
              <a:rPr lang="en-US" sz="1400" dirty="0"/>
              <a:t>“+” you can start a new “PPMo Tracking list” creation</a:t>
            </a:r>
            <a:endParaRPr lang="de-DE" sz="1400" dirty="0"/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80262E9-C735-A131-EE15-360EBEFD6D1D}"/>
              </a:ext>
            </a:extLst>
          </p:cNvPr>
          <p:cNvCxnSpPr>
            <a:cxnSpLocks/>
          </p:cNvCxnSpPr>
          <p:nvPr/>
        </p:nvCxnSpPr>
        <p:spPr>
          <a:xfrm>
            <a:off x="2766296" y="1411309"/>
            <a:ext cx="720080" cy="0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65917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93C8A57-418B-7CCA-C245-C32C3947E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4008" y="1023939"/>
            <a:ext cx="4104706" cy="3276004"/>
          </a:xfrm>
        </p:spPr>
        <p:txBody>
          <a:bodyPr>
            <a:normAutofit fontScale="92500" lnSpcReduction="10000"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b="1" dirty="0"/>
              <a:t>How to access and configurate it in CT2 website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It is mandatory to include all the Fleets, Products (New tires or Retreads) that will be part of the Monitoring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Also a initial and final date should be included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All measured tires that comply with some pre-defined inspection criteria will have the data stored and will populate the </a:t>
            </a:r>
            <a:r>
              <a:rPr lang="en-US" sz="1400" dirty="0"/>
              <a:t>“RPT042” report (basis for performance analysis and dashboard)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u="sng" dirty="0"/>
              <a:t>Important:</a:t>
            </a:r>
            <a:r>
              <a:rPr lang="en-US" sz="1400" dirty="0"/>
              <a:t> the </a:t>
            </a:r>
            <a:r>
              <a:rPr lang="en-US" sz="1400" b="1" dirty="0"/>
              <a:t>“Tracking” </a:t>
            </a:r>
            <a:r>
              <a:rPr lang="en-US" sz="1400" dirty="0"/>
              <a:t>function should be “flagged” in CT2 app (Pocket Survey) during the field inspections otherwise the PPMo report (RPT042) will not be created afterwards.</a:t>
            </a:r>
            <a:endParaRPr lang="de-DE" sz="1400" dirty="0"/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0FCF4586-81A8-AFFC-0C4C-3D214DCE54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299" t="3979" b="3233"/>
          <a:stretch/>
        </p:blipFill>
        <p:spPr>
          <a:xfrm>
            <a:off x="402461" y="1023938"/>
            <a:ext cx="4169539" cy="2875707"/>
          </a:xfrm>
          <a:prstGeom prst="rect">
            <a:avLst/>
          </a:prstGeom>
        </p:spPr>
      </p:pic>
      <p:cxnSp>
        <p:nvCxnSpPr>
          <p:cNvPr id="15" name="Conector de Seta Reta 14">
            <a:extLst>
              <a:ext uri="{FF2B5EF4-FFF2-40B4-BE49-F238E27FC236}">
                <a16:creationId xmlns:a16="http://schemas.microsoft.com/office/drawing/2014/main" id="{8CA4E313-D685-EE11-E09A-9DF69A231C67}"/>
              </a:ext>
            </a:extLst>
          </p:cNvPr>
          <p:cNvCxnSpPr>
            <a:cxnSpLocks/>
          </p:cNvCxnSpPr>
          <p:nvPr/>
        </p:nvCxnSpPr>
        <p:spPr>
          <a:xfrm flipH="1">
            <a:off x="899592" y="1707654"/>
            <a:ext cx="648072" cy="0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F4C4D7DC-8D94-655E-B02C-3FA87B27ED1E}"/>
              </a:ext>
            </a:extLst>
          </p:cNvPr>
          <p:cNvCxnSpPr>
            <a:cxnSpLocks/>
          </p:cNvCxnSpPr>
          <p:nvPr/>
        </p:nvCxnSpPr>
        <p:spPr>
          <a:xfrm flipH="1">
            <a:off x="925470" y="2292344"/>
            <a:ext cx="648072" cy="0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de Seta Reta 16">
            <a:extLst>
              <a:ext uri="{FF2B5EF4-FFF2-40B4-BE49-F238E27FC236}">
                <a16:creationId xmlns:a16="http://schemas.microsoft.com/office/drawing/2014/main" id="{3BAAB324-A878-F8C8-6D08-7A9F96AEFE4F}"/>
              </a:ext>
            </a:extLst>
          </p:cNvPr>
          <p:cNvCxnSpPr>
            <a:cxnSpLocks/>
          </p:cNvCxnSpPr>
          <p:nvPr/>
        </p:nvCxnSpPr>
        <p:spPr>
          <a:xfrm flipH="1">
            <a:off x="3347864" y="2295813"/>
            <a:ext cx="648072" cy="0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683BD140-C786-28AB-17A3-CDF971483320}"/>
              </a:ext>
            </a:extLst>
          </p:cNvPr>
          <p:cNvCxnSpPr>
            <a:cxnSpLocks/>
          </p:cNvCxnSpPr>
          <p:nvPr/>
        </p:nvCxnSpPr>
        <p:spPr>
          <a:xfrm flipH="1">
            <a:off x="2852192" y="1707654"/>
            <a:ext cx="648072" cy="0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521016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7E8C1784-BDB6-D36E-5635-DFCE7A08EE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663"/>
          <a:stretch/>
        </p:blipFill>
        <p:spPr>
          <a:xfrm>
            <a:off x="251521" y="1051944"/>
            <a:ext cx="4358736" cy="307352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93C8A57-418B-7CCA-C245-C32C3947E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4008" y="1023938"/>
            <a:ext cx="4104706" cy="3383755"/>
          </a:xfrm>
        </p:spPr>
        <p:txBody>
          <a:bodyPr>
            <a:normAutofit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b="1" dirty="0"/>
              <a:t>How to download the PPMo Tracking report (RPT042)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Once the information (inspection) has been collected with the “PPMo Tracking” function on and the data is following the pre-defined criteria the RPT042 report can be downloaded by selecting the “print button</a:t>
            </a:r>
            <a:r>
              <a:rPr lang="pt-BR" sz="1400" dirty="0"/>
              <a:t>”. </a:t>
            </a:r>
            <a:endParaRPr lang="de-DE" sz="1400" dirty="0"/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80262E9-C735-A131-EE15-360EBEFD6D1D}"/>
              </a:ext>
            </a:extLst>
          </p:cNvPr>
          <p:cNvCxnSpPr>
            <a:cxnSpLocks/>
          </p:cNvCxnSpPr>
          <p:nvPr/>
        </p:nvCxnSpPr>
        <p:spPr>
          <a:xfrm>
            <a:off x="3347864" y="1851670"/>
            <a:ext cx="720080" cy="0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m 9">
            <a:extLst>
              <a:ext uri="{FF2B5EF4-FFF2-40B4-BE49-F238E27FC236}">
                <a16:creationId xmlns:a16="http://schemas.microsoft.com/office/drawing/2014/main" id="{F69336E5-83C0-F931-3A63-6AA776DCB9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7534" y="2421184"/>
            <a:ext cx="3724466" cy="195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4931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4BF993B1-49FD-D126-B93D-A79F4072AB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0795"/>
          <a:stretch/>
        </p:blipFill>
        <p:spPr>
          <a:xfrm>
            <a:off x="395286" y="1131590"/>
            <a:ext cx="4104706" cy="3071622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1B7DE87F-16D3-E6DD-4BFD-D548A189DE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4008" y="1023938"/>
            <a:ext cx="4104706" cy="3383755"/>
          </a:xfrm>
        </p:spPr>
        <p:txBody>
          <a:bodyPr>
            <a:normAutofit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b="1" dirty="0"/>
              <a:t>How to download the PPMo Tracking report (RPT042)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Once the information (inspection) has been collected with the “PPMo Tracking” function on and the data is following the pre-defined criteria the RPT042 report can be downloaded by selecting the “print button</a:t>
            </a:r>
            <a:r>
              <a:rPr lang="pt-BR" sz="1400" dirty="0"/>
              <a:t>”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Different</a:t>
            </a:r>
            <a:r>
              <a:rPr lang="pt-BR" sz="1400" dirty="0"/>
              <a:t> </a:t>
            </a:r>
            <a:r>
              <a:rPr lang="en-US" sz="1400" dirty="0"/>
              <a:t>types</a:t>
            </a:r>
            <a:r>
              <a:rPr lang="pt-BR" sz="1400" dirty="0"/>
              <a:t> </a:t>
            </a:r>
            <a:r>
              <a:rPr lang="en-US" sz="1400" dirty="0"/>
              <a:t>of</a:t>
            </a:r>
            <a:r>
              <a:rPr lang="pt-BR" sz="1400" dirty="0"/>
              <a:t> </a:t>
            </a:r>
            <a:r>
              <a:rPr lang="en-US" sz="1400" dirty="0"/>
              <a:t>reports</a:t>
            </a:r>
            <a:r>
              <a:rPr lang="pt-BR" sz="1400" dirty="0"/>
              <a:t> </a:t>
            </a:r>
            <a:r>
              <a:rPr lang="en-US" sz="1400" dirty="0"/>
              <a:t>can</a:t>
            </a:r>
            <a:r>
              <a:rPr lang="pt-BR" sz="1400" dirty="0"/>
              <a:t> </a:t>
            </a:r>
            <a:r>
              <a:rPr lang="en-US" sz="1400" dirty="0"/>
              <a:t>be</a:t>
            </a:r>
            <a:r>
              <a:rPr lang="pt-BR" sz="1400" dirty="0"/>
              <a:t> </a:t>
            </a:r>
            <a:r>
              <a:rPr lang="en-US" sz="1400" dirty="0"/>
              <a:t>downloaded</a:t>
            </a:r>
            <a:r>
              <a:rPr lang="pt-BR" sz="1400" dirty="0"/>
              <a:t>, </a:t>
            </a:r>
            <a:r>
              <a:rPr lang="en-US" sz="1400" dirty="0"/>
              <a:t>including the format RPT042 which is normally used for the “PPMo </a:t>
            </a:r>
            <a:r>
              <a:rPr lang="pt-BR" sz="1400" dirty="0"/>
              <a:t>Performance” dashboard updates.</a:t>
            </a:r>
            <a:endParaRPr lang="de-DE" sz="1400" dirty="0"/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29679692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93C8A57-418B-7CCA-C245-C32C3947E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4008" y="1023938"/>
            <a:ext cx="4104706" cy="3383755"/>
          </a:xfrm>
        </p:spPr>
        <p:txBody>
          <a:bodyPr>
            <a:normAutofit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b="1" dirty="0"/>
              <a:t>How to set it up in Pocket Survey (mobile app)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The first step is to ensure that you are using the latest </a:t>
            </a:r>
            <a:r>
              <a:rPr lang="pt-BR" sz="1400" dirty="0"/>
              <a:t>“Pocket </a:t>
            </a:r>
            <a:r>
              <a:rPr lang="en-US" sz="1400" dirty="0"/>
              <a:t>Survey</a:t>
            </a:r>
            <a:r>
              <a:rPr lang="pt-BR" sz="1400" dirty="0"/>
              <a:t>” APP </a:t>
            </a:r>
            <a:r>
              <a:rPr lang="en-US" sz="1400" dirty="0"/>
              <a:t>version</a:t>
            </a:r>
            <a:r>
              <a:rPr lang="pt-BR" sz="1400" dirty="0"/>
              <a:t>.</a:t>
            </a:r>
            <a:endParaRPr lang="en-US" sz="1400" dirty="0"/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Select the “Info” button in the bottom right of the Pocket Survey app screen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The version should be 5.3.5 [CT2] or newer</a:t>
            </a:r>
            <a:r>
              <a:rPr lang="pt-BR" sz="1400" dirty="0"/>
              <a:t>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If you have a previous version installed, please make sure to update it before trying to configurate the “Tracking Function</a:t>
            </a:r>
            <a:r>
              <a:rPr lang="pt-BR" sz="1400" dirty="0"/>
              <a:t>”.</a:t>
            </a:r>
            <a:endParaRPr lang="de-DE" sz="1400" dirty="0"/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2D24B552-3BE1-2AB3-420A-2A3ACCD2D5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86" y="1084888"/>
            <a:ext cx="1656434" cy="2932426"/>
          </a:xfrm>
          <a:prstGeom prst="rect">
            <a:avLst/>
          </a:prstGeom>
        </p:spPr>
      </p:pic>
      <p:cxnSp>
        <p:nvCxnSpPr>
          <p:cNvPr id="12" name="Conector de Seta Reta 11">
            <a:extLst>
              <a:ext uri="{FF2B5EF4-FFF2-40B4-BE49-F238E27FC236}">
                <a16:creationId xmlns:a16="http://schemas.microsoft.com/office/drawing/2014/main" id="{A4C2893A-A5DF-FC60-9CF2-61E1DE726F1D}"/>
              </a:ext>
            </a:extLst>
          </p:cNvPr>
          <p:cNvCxnSpPr>
            <a:cxnSpLocks/>
          </p:cNvCxnSpPr>
          <p:nvPr/>
        </p:nvCxnSpPr>
        <p:spPr>
          <a:xfrm>
            <a:off x="1187624" y="3867894"/>
            <a:ext cx="504056" cy="0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m 15">
            <a:extLst>
              <a:ext uri="{FF2B5EF4-FFF2-40B4-BE49-F238E27FC236}">
                <a16:creationId xmlns:a16="http://schemas.microsoft.com/office/drawing/2014/main" id="{86FB9C86-B64C-3B46-227C-225ED5B7FF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61"/>
          <a:stretch/>
        </p:blipFill>
        <p:spPr>
          <a:xfrm>
            <a:off x="2213049" y="1084888"/>
            <a:ext cx="2070919" cy="2932426"/>
          </a:xfrm>
          <a:prstGeom prst="rect">
            <a:avLst/>
          </a:prstGeom>
        </p:spPr>
      </p:pic>
      <p:sp>
        <p:nvSpPr>
          <p:cNvPr id="17" name="Retângulo 16">
            <a:extLst>
              <a:ext uri="{FF2B5EF4-FFF2-40B4-BE49-F238E27FC236}">
                <a16:creationId xmlns:a16="http://schemas.microsoft.com/office/drawing/2014/main" id="{2C4125CD-D088-2634-5309-B363E478AA3B}"/>
              </a:ext>
            </a:extLst>
          </p:cNvPr>
          <p:cNvSpPr/>
          <p:nvPr/>
        </p:nvSpPr>
        <p:spPr>
          <a:xfrm>
            <a:off x="2627784" y="1347614"/>
            <a:ext cx="1224136" cy="288032"/>
          </a:xfrm>
          <a:prstGeom prst="rect">
            <a:avLst/>
          </a:prstGeom>
          <a:noFill/>
          <a:ln w="476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857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Customer Services</a:t>
            </a:r>
            <a:br>
              <a:rPr lang="en-US" dirty="0"/>
            </a:br>
            <a:r>
              <a:rPr lang="en-US" b="0" dirty="0">
                <a:solidFill>
                  <a:schemeClr val="tx1"/>
                </a:solidFill>
              </a:rPr>
              <a:t>CT2 – PPMo Tracking fun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8 December 2023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/>
              <a:t>Pereira,Rafael</a:t>
            </a:r>
            <a:r>
              <a:rPr lang="en-US" noProof="0" dirty="0"/>
              <a:t> © Continental AG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93C8A57-418B-7CCA-C245-C32C3947E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4008" y="1023938"/>
            <a:ext cx="4104706" cy="3383755"/>
          </a:xfrm>
        </p:spPr>
        <p:txBody>
          <a:bodyPr>
            <a:normAutofit/>
          </a:bodyPr>
          <a:lstStyle/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b="1" dirty="0"/>
              <a:t>How to set it up in Pocket Survey (mobile app)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pt-BR" sz="1400" dirty="0" err="1"/>
              <a:t>Once</a:t>
            </a:r>
            <a:r>
              <a:rPr lang="pt-BR" sz="1400" dirty="0"/>
              <a:t> app </a:t>
            </a:r>
            <a:r>
              <a:rPr lang="pt-BR" sz="1400" dirty="0" err="1"/>
              <a:t>version</a:t>
            </a:r>
            <a:r>
              <a:rPr lang="pt-BR" sz="1400" dirty="0"/>
              <a:t> </a:t>
            </a:r>
            <a:r>
              <a:rPr lang="pt-BR" sz="1400" dirty="0" err="1"/>
              <a:t>is</a:t>
            </a:r>
            <a:r>
              <a:rPr lang="pt-BR" sz="1400" dirty="0"/>
              <a:t> </a:t>
            </a:r>
            <a:r>
              <a:rPr lang="pt-BR" sz="1400" dirty="0" err="1"/>
              <a:t>the</a:t>
            </a:r>
            <a:r>
              <a:rPr lang="pt-BR" sz="1400" dirty="0"/>
              <a:t> </a:t>
            </a:r>
            <a:r>
              <a:rPr lang="pt-BR" sz="1400" dirty="0" err="1"/>
              <a:t>latest</a:t>
            </a:r>
            <a:r>
              <a:rPr lang="pt-BR" sz="1400" dirty="0"/>
              <a:t> </a:t>
            </a:r>
            <a:r>
              <a:rPr lang="pt-BR" sz="1400" dirty="0" err="1"/>
              <a:t>one</a:t>
            </a:r>
            <a:r>
              <a:rPr lang="pt-BR" sz="1400" dirty="0"/>
              <a:t> </a:t>
            </a:r>
            <a:r>
              <a:rPr lang="pt-BR" sz="1400" i="1" dirty="0"/>
              <a:t>(</a:t>
            </a:r>
            <a:r>
              <a:rPr lang="en-US" sz="1400" i="1" dirty="0"/>
              <a:t>5.3.5 or newer)</a:t>
            </a:r>
            <a:r>
              <a:rPr lang="pt-BR" sz="1400" dirty="0"/>
              <a:t>, </a:t>
            </a:r>
            <a:r>
              <a:rPr lang="pt-BR" sz="1400" dirty="0" err="1"/>
              <a:t>please</a:t>
            </a:r>
            <a:r>
              <a:rPr lang="pt-BR" sz="1400" dirty="0"/>
              <a:t> </a:t>
            </a:r>
            <a:r>
              <a:rPr lang="pt-BR" sz="1400" dirty="0" err="1"/>
              <a:t>select</a:t>
            </a:r>
            <a:r>
              <a:rPr lang="pt-BR" sz="1400" dirty="0"/>
              <a:t> </a:t>
            </a:r>
            <a:r>
              <a:rPr lang="pt-BR" sz="1400" dirty="0" err="1"/>
              <a:t>the</a:t>
            </a:r>
            <a:r>
              <a:rPr lang="pt-BR" sz="1400" dirty="0"/>
              <a:t> “</a:t>
            </a:r>
            <a:r>
              <a:rPr lang="pt-BR" sz="1400" dirty="0" err="1"/>
              <a:t>configuration</a:t>
            </a:r>
            <a:r>
              <a:rPr lang="pt-BR" sz="1400" dirty="0"/>
              <a:t>” </a:t>
            </a:r>
            <a:r>
              <a:rPr lang="pt-BR" sz="1400" dirty="0" err="1"/>
              <a:t>button</a:t>
            </a:r>
            <a:r>
              <a:rPr lang="pt-BR" sz="1400" dirty="0"/>
              <a:t> in </a:t>
            </a:r>
            <a:r>
              <a:rPr lang="pt-BR" sz="1400" dirty="0" err="1"/>
              <a:t>the</a:t>
            </a:r>
            <a:r>
              <a:rPr lang="pt-BR" sz="1400" dirty="0"/>
              <a:t> </a:t>
            </a:r>
            <a:r>
              <a:rPr lang="pt-BR" sz="1400" dirty="0" err="1"/>
              <a:t>bottom</a:t>
            </a:r>
            <a:r>
              <a:rPr lang="pt-BR" sz="1400" dirty="0"/>
              <a:t> </a:t>
            </a:r>
            <a:r>
              <a:rPr lang="pt-BR" sz="1400" dirty="0" err="1"/>
              <a:t>right</a:t>
            </a:r>
            <a:r>
              <a:rPr lang="pt-BR" sz="1400" dirty="0"/>
              <a:t> </a:t>
            </a:r>
            <a:r>
              <a:rPr lang="pt-BR" sz="1400" dirty="0" err="1"/>
              <a:t>of</a:t>
            </a:r>
            <a:r>
              <a:rPr lang="pt-BR" sz="1400" dirty="0"/>
              <a:t> </a:t>
            </a:r>
            <a:r>
              <a:rPr lang="pt-BR" sz="1400" dirty="0" err="1"/>
              <a:t>the</a:t>
            </a:r>
            <a:r>
              <a:rPr lang="pt-BR" sz="1400" dirty="0"/>
              <a:t> Pocket </a:t>
            </a:r>
            <a:r>
              <a:rPr lang="pt-BR" sz="1400" dirty="0" err="1"/>
              <a:t>Survey</a:t>
            </a:r>
            <a:r>
              <a:rPr lang="pt-BR" sz="1400" dirty="0"/>
              <a:t> app </a:t>
            </a:r>
            <a:r>
              <a:rPr lang="pt-BR" sz="1400" dirty="0" err="1"/>
              <a:t>screen</a:t>
            </a:r>
            <a:r>
              <a:rPr lang="pt-BR" sz="1400" dirty="0"/>
              <a:t>.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de-DE" sz="1400" dirty="0"/>
              <a:t>Then select </a:t>
            </a:r>
            <a:r>
              <a:rPr lang="en-US" sz="1400" dirty="0"/>
              <a:t>“Screen Options”</a:t>
            </a:r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r>
              <a:rPr lang="en-US" sz="1400" dirty="0"/>
              <a:t>A password will be requested, please, use: </a:t>
            </a:r>
            <a:r>
              <a:rPr lang="en-US" sz="1400" b="1" dirty="0" err="1"/>
              <a:t>pssupport</a:t>
            </a:r>
            <a:endParaRPr lang="de-DE" sz="1400" dirty="0"/>
          </a:p>
          <a:p>
            <a:pPr lvl="1"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  <a:p>
            <a:pPr>
              <a:buClr>
                <a:srgbClr val="FFA500"/>
              </a:buClr>
              <a:buSzPts val="1800"/>
              <a:buFont typeface="Arial"/>
              <a:buChar char="›"/>
            </a:pPr>
            <a:endParaRPr lang="de-DE" sz="1400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37962DE-1CE8-2316-8A16-ACB7257E96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86" y="1084888"/>
            <a:ext cx="1656434" cy="2932426"/>
          </a:xfrm>
          <a:prstGeom prst="rect">
            <a:avLst/>
          </a:prstGeom>
        </p:spPr>
      </p:pic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021DD92E-BE52-9135-ECC9-2A2696CA1F22}"/>
              </a:ext>
            </a:extLst>
          </p:cNvPr>
          <p:cNvCxnSpPr>
            <a:cxnSpLocks/>
          </p:cNvCxnSpPr>
          <p:nvPr/>
        </p:nvCxnSpPr>
        <p:spPr>
          <a:xfrm>
            <a:off x="1364892" y="3854507"/>
            <a:ext cx="557937" cy="4093"/>
          </a:xfrm>
          <a:prstGeom prst="straightConnector1">
            <a:avLst/>
          </a:prstGeom>
          <a:ln w="635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>
            <a:extLst>
              <a:ext uri="{FF2B5EF4-FFF2-40B4-BE49-F238E27FC236}">
                <a16:creationId xmlns:a16="http://schemas.microsoft.com/office/drawing/2014/main" id="{5FD623FF-98C4-623A-3582-33C3DC5C17F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59"/>
          <a:stretch/>
        </p:blipFill>
        <p:spPr>
          <a:xfrm>
            <a:off x="2187722" y="1084888"/>
            <a:ext cx="1610869" cy="2932426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1E3F0FEE-9E0D-D78A-3B67-9A9476CC1BCE}"/>
              </a:ext>
            </a:extLst>
          </p:cNvPr>
          <p:cNvSpPr/>
          <p:nvPr/>
        </p:nvSpPr>
        <p:spPr>
          <a:xfrm>
            <a:off x="2123727" y="3219822"/>
            <a:ext cx="1674863" cy="288032"/>
          </a:xfrm>
          <a:prstGeom prst="rect">
            <a:avLst/>
          </a:prstGeom>
          <a:noFill/>
          <a:ln w="476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80574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t+JiJ6xWJCoXPLq0gFtQcFAAAAAAADAAAAAAADAAAAAwADAAAAAAD///////8DAAEA////////BAAAAAMAEAALMd4cSGrE1kyuuHd/9COSw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t+JiJ6xWJCoXPLq0gFtQcDRGF0YQAbAAAABExpbmtlZFNoYXBlRGF0YQAFAAAAAAACTmFtZQAZAAAATGlua2VkU2hhcGVzRGF0YVByb3BlcnR5ABBWZXJzaW9uAAAAAAAJTGFzdFdyaXRlANTpjKp6AQAAAAEA/////50AnQAAAAVfaWQAEAAAAAQx3hxIasTWTK64d3/0I5LDA0RhdGEAKgAAAAhQcmVzZW50YXRpb25TY2FubmVkRm9yTGlua2VkU2hhcGVzAAEAAk5hbWUAJAAAAExpbmtlZFNoYXBlUHJlc2VudGF0aW9uU2V0dGluZ3NEYXRhABBWZXJzaW9uAAAAAAAJTGFzdFdyaXRlAEbqjKp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3132"/>
  <p:tag name="MIO_UPDATE" val="True"/>
  <p:tag name="MIO_VERSION" val="05.07.2013 10:24:09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Continental AG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B0AF76506F42940B5B571A3298498D4" ma:contentTypeVersion="18" ma:contentTypeDescription="Crie um novo documento." ma:contentTypeScope="" ma:versionID="e2fac0c32162d7bc072201ac347c1743">
  <xsd:schema xmlns:xsd="http://www.w3.org/2001/XMLSchema" xmlns:xs="http://www.w3.org/2001/XMLSchema" xmlns:p="http://schemas.microsoft.com/office/2006/metadata/properties" xmlns:ns2="5be4bf59-d06e-4487-a35f-b070f3e20cd3" xmlns:ns3="ad1ef9df-734a-48ae-a6ca-4d98a150f57c" targetNamespace="http://schemas.microsoft.com/office/2006/metadata/properties" ma:root="true" ma:fieldsID="2d1a357fddee5c996878adfa95c805a8" ns2:_="" ns3:_="">
    <xsd:import namespace="5be4bf59-d06e-4487-a35f-b070f3e20cd3"/>
    <xsd:import namespace="ad1ef9df-734a-48ae-a6ca-4d98a150f5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e4bf59-d06e-4487-a35f-b070f3e20c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Marcações de imagem" ma:readOnly="false" ma:fieldId="{5cf76f15-5ced-4ddc-b409-7134ff3c332f}" ma:taxonomyMulti="true" ma:sspId="feda2b84-7b9c-4109-bb73-211c9f8484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1ef9df-734a-48ae-a6ca-4d98a150f57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72a060d-b6d5-4a58-8a6a-6a3030bf891e}" ma:internalName="TaxCatchAll" ma:showField="CatchAllData" ma:web="ad1ef9df-734a-48ae-a6ca-4d98a150f5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lcf76f155ced4ddcb4097134ff3c332f xmlns="5be4bf59-d06e-4487-a35f-b070f3e20cd3">
      <Terms xmlns="http://schemas.microsoft.com/office/infopath/2007/PartnerControls"/>
    </lcf76f155ced4ddcb4097134ff3c332f>
    <TaxCatchAll xmlns="ad1ef9df-734a-48ae-a6ca-4d98a150f57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81BAAE-2B49-4AB6-BE08-44752A655E81}"/>
</file>

<file path=customXml/itemProps2.xml><?xml version="1.0" encoding="utf-8"?>
<ds:datastoreItem xmlns:ds="http://schemas.openxmlformats.org/officeDocument/2006/customXml" ds:itemID="{AA98229D-084A-457E-BF84-90DA96AD1671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57017e5e-011c-497c-afc7-83a11b03a884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DC7502D-49C0-496B-9893-4A44A58BC3B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3</Words>
  <Application>Microsoft Office PowerPoint</Application>
  <PresentationFormat>Apresentação na tela (16:9)</PresentationFormat>
  <Paragraphs>91</Paragraphs>
  <Slides>12</Slides>
  <Notes>12</Notes>
  <HiddenSlides>0</HiddenSlides>
  <MMClips>0</MMClips>
  <ScaleCrop>false</ScaleCrop>
  <HeadingPairs>
    <vt:vector size="6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15" baseType="lpstr">
      <vt:lpstr>Arial</vt:lpstr>
      <vt:lpstr>Calibri</vt:lpstr>
      <vt:lpstr>Continental AG, 16x9</vt:lpstr>
      <vt:lpstr>Technical Customer Services</vt:lpstr>
      <vt:lpstr>Technical Customer Services CT2 – PPMo Tracking function</vt:lpstr>
      <vt:lpstr>Technical Customer Services CT2 – PPMo Tracking function</vt:lpstr>
      <vt:lpstr>Technical Customer Services CT2 – PPMo Tracking function</vt:lpstr>
      <vt:lpstr>Technical Customer Services CT2 – PPMo Tracking function</vt:lpstr>
      <vt:lpstr>Technical Customer Services CT2 – PPMo Tracking function</vt:lpstr>
      <vt:lpstr>Technical Customer Services CT2 – PPMo Tracking function</vt:lpstr>
      <vt:lpstr>Technical Customer Services CT2 – PPMo Tracking function</vt:lpstr>
      <vt:lpstr>Technical Customer Services CT2 – PPMo Tracking function</vt:lpstr>
      <vt:lpstr>Technical Customer Services CT2 – PPMo Tracking function</vt:lpstr>
      <vt:lpstr>Technical Customer Services CT2 – PPMo Tracking function</vt:lpstr>
      <vt:lpstr>Thank you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_16x9_new_CD_int</dc:title>
  <dc:creator>Maren Wisniewski</dc:creator>
  <cp:lastModifiedBy>Pereira, Rafael</cp:lastModifiedBy>
  <cp:revision>128</cp:revision>
  <dcterms:created xsi:type="dcterms:W3CDTF">2013-07-05T08:24:10Z</dcterms:created>
  <dcterms:modified xsi:type="dcterms:W3CDTF">2023-12-28T14:0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4B159885880441A9B73F93D1199A63</vt:lpwstr>
  </property>
  <property fmtid="{D5CDD505-2E9C-101B-9397-08002B2CF9AE}" pid="3" name="Order">
    <vt:r8>202100</vt:r8>
  </property>
  <property fmtid="{D5CDD505-2E9C-101B-9397-08002B2CF9AE}" pid="4" name="ClassificationContentMarkingFooterLocations">
    <vt:lpwstr>Continental AG, 16x9:6</vt:lpwstr>
  </property>
  <property fmtid="{D5CDD505-2E9C-101B-9397-08002B2CF9AE}" pid="5" name="ClassificationContentMarkingFooterText">
    <vt:lpwstr>Internal</vt:lpwstr>
  </property>
</Properties>
</file>